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2" r:id="rId1"/>
    <p:sldMasterId id="2147483835" r:id="rId2"/>
    <p:sldMasterId id="2147483847" r:id="rId3"/>
    <p:sldMasterId id="2147483860" r:id="rId4"/>
    <p:sldMasterId id="2147483873" r:id="rId5"/>
    <p:sldMasterId id="2147483886" r:id="rId6"/>
    <p:sldMasterId id="2147483899" r:id="rId7"/>
    <p:sldMasterId id="2147483912" r:id="rId8"/>
  </p:sldMasterIdLst>
  <p:notesMasterIdLst>
    <p:notesMasterId r:id="rId16"/>
  </p:notesMasterIdLst>
  <p:sldIdLst>
    <p:sldId id="340" r:id="rId9"/>
    <p:sldId id="395" r:id="rId10"/>
    <p:sldId id="421" r:id="rId11"/>
    <p:sldId id="422" r:id="rId12"/>
    <p:sldId id="423" r:id="rId13"/>
    <p:sldId id="424" r:id="rId14"/>
    <p:sldId id="343" r:id="rId15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AA9A"/>
    <a:srgbClr val="FEE7E2"/>
    <a:srgbClr val="FC9884"/>
    <a:srgbClr val="2F5291"/>
    <a:srgbClr val="2A4B86"/>
    <a:srgbClr val="7079BE"/>
    <a:srgbClr val="FD6555"/>
    <a:srgbClr val="F85636"/>
    <a:srgbClr val="B3DBD4"/>
    <a:srgbClr val="6C76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620" autoAdjust="0"/>
    <p:restoredTop sz="87356" autoAdjust="0"/>
  </p:normalViewPr>
  <p:slideViewPr>
    <p:cSldViewPr>
      <p:cViewPr varScale="1">
        <p:scale>
          <a:sx n="116" d="100"/>
          <a:sy n="116" d="100"/>
        </p:scale>
        <p:origin x="1086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10" Type="http://schemas.openxmlformats.org/officeDocument/2006/relationships/slide" Target="slides/slide2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332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6332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r">
              <a:defRPr sz="1200"/>
            </a:lvl1pPr>
          </a:lstStyle>
          <a:p>
            <a:fld id="{8E0CB928-F151-4307-A5E1-FC356F88477C}" type="datetimeFigureOut">
              <a:rPr lang="ru-RU" smtClean="0"/>
              <a:pPr/>
              <a:t>25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0" tIns="45855" rIns="91710" bIns="4585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1710" tIns="45855" rIns="91710" bIns="4585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6332"/>
          </a:xfrm>
          <a:prstGeom prst="rect">
            <a:avLst/>
          </a:prstGeom>
        </p:spPr>
        <p:txBody>
          <a:bodyPr vert="horz" lIns="91710" tIns="45855" rIns="91710" bIns="4585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1710" tIns="45855" rIns="91710" bIns="45855" rtlCol="0" anchor="b"/>
          <a:lstStyle>
            <a:lvl1pPr algn="r">
              <a:defRPr sz="1200"/>
            </a:lvl1pPr>
          </a:lstStyle>
          <a:p>
            <a:fld id="{12AF942E-85CA-45AB-8208-16467E6928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10651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extLst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defRPr/>
            </a:pPr>
            <a:endParaRPr lang="ru-RU" altLang="ru-RU" dirty="0" smtClean="0"/>
          </a:p>
        </p:txBody>
      </p:sp>
      <p:sp>
        <p:nvSpPr>
          <p:cNvPr id="4003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A83381A-03BB-40BF-A7DF-4C9CE0E1545C}" type="slidenum">
              <a:rPr lang="ru-RU" altLang="ru-RU" smtClean="0">
                <a:solidFill>
                  <a:srgbClr val="000000"/>
                </a:solidFill>
                <a:cs typeface="Arial" charset="0"/>
              </a:rPr>
              <a:pPr/>
              <a:t>1</a:t>
            </a:fld>
            <a:endParaRPr lang="ru-RU" altLang="ru-RU" smtClean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8068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extLst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defRPr/>
            </a:pPr>
            <a:endParaRPr lang="ru-RU" baseline="0" dirty="0" smtClean="0">
              <a:effectLst/>
            </a:endParaRPr>
          </a:p>
        </p:txBody>
      </p:sp>
      <p:sp>
        <p:nvSpPr>
          <p:cNvPr id="4003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A83381A-03BB-40BF-A7DF-4C9CE0E1545C}" type="slidenum">
              <a:rPr lang="ru-RU" altLang="ru-RU" smtClean="0">
                <a:solidFill>
                  <a:srgbClr val="000000"/>
                </a:solidFill>
                <a:cs typeface="Arial" charset="0"/>
              </a:rPr>
              <a:pPr/>
              <a:t>2</a:t>
            </a:fld>
            <a:endParaRPr lang="ru-RU" altLang="ru-RU" smtClean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64174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extLst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defRPr/>
            </a:pPr>
            <a:endParaRPr lang="ru-RU" baseline="0" dirty="0" smtClean="0">
              <a:effectLst/>
            </a:endParaRPr>
          </a:p>
        </p:txBody>
      </p:sp>
      <p:sp>
        <p:nvSpPr>
          <p:cNvPr id="4003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A83381A-03BB-40BF-A7DF-4C9CE0E1545C}" type="slidenum">
              <a:rPr lang="ru-RU" altLang="ru-RU" smtClean="0">
                <a:solidFill>
                  <a:srgbClr val="000000"/>
                </a:solidFill>
                <a:cs typeface="Arial" charset="0"/>
              </a:rPr>
              <a:pPr/>
              <a:t>3</a:t>
            </a:fld>
            <a:endParaRPr lang="ru-RU" altLang="ru-RU" smtClean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561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extLst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defRPr/>
            </a:pPr>
            <a:endParaRPr lang="ru-RU" baseline="0" dirty="0" smtClean="0">
              <a:effectLst/>
            </a:endParaRPr>
          </a:p>
        </p:txBody>
      </p:sp>
      <p:sp>
        <p:nvSpPr>
          <p:cNvPr id="4003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A83381A-03BB-40BF-A7DF-4C9CE0E1545C}" type="slidenum">
              <a:rPr lang="ru-RU" altLang="ru-RU" smtClean="0">
                <a:solidFill>
                  <a:srgbClr val="000000"/>
                </a:solidFill>
                <a:cs typeface="Arial" charset="0"/>
              </a:rPr>
              <a:pPr/>
              <a:t>4</a:t>
            </a:fld>
            <a:endParaRPr lang="ru-RU" altLang="ru-RU" smtClean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561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extLst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defRPr/>
            </a:pPr>
            <a:endParaRPr lang="ru-RU" baseline="0" dirty="0" smtClean="0">
              <a:effectLst/>
            </a:endParaRPr>
          </a:p>
        </p:txBody>
      </p:sp>
      <p:sp>
        <p:nvSpPr>
          <p:cNvPr id="4003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A83381A-03BB-40BF-A7DF-4C9CE0E1545C}" type="slidenum">
              <a:rPr lang="ru-RU" altLang="ru-RU" smtClean="0">
                <a:solidFill>
                  <a:srgbClr val="000000"/>
                </a:solidFill>
                <a:cs typeface="Arial" charset="0"/>
              </a:rPr>
              <a:pPr/>
              <a:t>5</a:t>
            </a:fld>
            <a:endParaRPr lang="ru-RU" altLang="ru-RU" smtClean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561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extLst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defRPr/>
            </a:pPr>
            <a:endParaRPr lang="ru-RU" baseline="0" dirty="0" smtClean="0">
              <a:effectLst/>
            </a:endParaRPr>
          </a:p>
        </p:txBody>
      </p:sp>
      <p:sp>
        <p:nvSpPr>
          <p:cNvPr id="40038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A83381A-03BB-40BF-A7DF-4C9CE0E1545C}" type="slidenum">
              <a:rPr lang="ru-RU" altLang="ru-RU" smtClean="0">
                <a:solidFill>
                  <a:srgbClr val="000000"/>
                </a:solidFill>
                <a:cs typeface="Arial" charset="0"/>
              </a:rPr>
              <a:pPr/>
              <a:t>6</a:t>
            </a:fld>
            <a:endParaRPr lang="ru-RU" altLang="ru-RU" smtClean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9561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AF942E-85CA-45AB-8208-16467E692870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4735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slideMaster" Target="../slideMasters/slideMaster7.xml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C359B-E290-46D9-9C16-7662B8C4805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87CF2D-B29D-40BA-948D-A9E60BB7733E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105641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6A15A-DDD5-42AD-9F37-5150B17915B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1A915B-A50A-445C-BD5A-FB6B462D7DEE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1655514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E9C30-6EDC-4628-86FB-7F55249057E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BE4EA7-0C0B-4024-81E3-8BBBCA7CA53C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821434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C359B-E290-46D9-9C16-7662B8C4805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87CF2D-B29D-40BA-948D-A9E60BB7733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654675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80F6F-1078-43EE-8A29-17C162E0107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A7783D-B781-46D8-AFA3-34341D98DB4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380160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36FA5-0434-4581-97EF-3B9F79455D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9961D2-48A3-4B5D-A953-CD363EF6987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2161821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2901" y="2133601"/>
            <a:ext cx="3009900" cy="603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505201" y="2133601"/>
            <a:ext cx="3009900" cy="60340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332BE-6D87-464B-AA92-0AEC29CECD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605652-A70C-4BD4-BFBA-EE1A0B56264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25968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8AF3-5D98-4F35-8B71-84A293EFF45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E057D3-96E3-462F-B69E-938AA3446A9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856362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EBA2A-946F-4C0B-827E-67F3DB8FC91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83E996C-2DBF-4779-8CE5-5A22BB6F5AC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765400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2DA71-0B3B-4ACB-941C-C8A361EAB0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22C4C5-74F0-4F63-AC5F-2AEA890F3F2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436339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51570-3254-4FAE-94F8-F1839D4922C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56D7AD-70E6-47CD-87D6-08DE141701A0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760738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80F6F-1078-43EE-8A29-17C162E0107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A7783D-B781-46D8-AFA3-34341D98DB46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158248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02A993-383F-4704-BDA7-E8BB9425FA5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8C76A7-9F89-4CC0-A39E-650F903C7DF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564026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6A15A-DDD5-42AD-9F37-5150B17915B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1A915B-A50A-445C-BD5A-FB6B462D7DE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167222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4972049" y="366713"/>
            <a:ext cx="1543051" cy="78009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42900" y="366713"/>
            <a:ext cx="4476751" cy="78009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E9C30-6EDC-4628-86FB-7F55249057E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BE4EA7-0C0B-4024-81E3-8BBBCA7CA53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934239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C359B-E290-46D9-9C16-7662B8C4805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87CF2D-B29D-40BA-948D-A9E60BB7733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03468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80F6F-1078-43EE-8A29-17C162E0107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A7783D-B781-46D8-AFA3-34341D98DB4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514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90" y="1709753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90" y="4589479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36FA5-0434-4581-97EF-3B9F79455D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9961D2-48A3-4B5D-A953-CD363EF6987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1860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332BE-6D87-464B-AA92-0AEC29CECD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605652-A70C-4BD4-BFBA-EE1A0B56264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441734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3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64" y="1681164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64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8AF3-5D98-4F35-8B71-84A293EFF45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E057D3-96E3-462F-B69E-938AA3446A95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051300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EBA2A-946F-4C0B-827E-67F3DB8FC91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83E996C-2DBF-4779-8CE5-5A22BB6F5AC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957648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2DA71-0B3B-4ACB-941C-C8A361EAB0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66" y="6356363"/>
            <a:ext cx="2601383" cy="365125"/>
          </a:xfrm>
        </p:spPr>
        <p:txBody>
          <a:bodyPr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2C22C4C5-74F0-4F63-AC5F-2AEA890F3F2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288169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90" y="1709753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90" y="4589479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36FA5-0434-4581-97EF-3B9F79455D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9961D2-48A3-4B5D-A953-CD363EF69873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9738032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407" y="987432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51570-3254-4FAE-94F8-F1839D4922C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56D7AD-70E6-47CD-87D6-08DE141701A0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485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407" y="987432"/>
            <a:ext cx="4629151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02A993-383F-4704-BDA7-E8BB9425FA5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8C76A7-9F89-4CC0-A39E-650F903C7DFF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1471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6A15A-DDD5-42AD-9F37-5150B17915B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1A915B-A50A-445C-BD5A-FB6B462D7DE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342527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E9C30-6EDC-4628-86FB-7F55249057E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BE4EA7-0C0B-4024-81E3-8BBBCA7CA53C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64215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66" y="-20593"/>
            <a:ext cx="2611439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6980"/>
            <a:ext cx="917416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7" y="6616755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6" y="542925"/>
            <a:ext cx="8793163" cy="6288088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766113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71" y="4303604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2" y="5"/>
          <a:ext cx="161925" cy="1619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05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10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5"/>
                        <a:ext cx="161925" cy="16192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22287" y="234950"/>
            <a:ext cx="8796337" cy="1256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96A6969-7C08-4C0C-BED0-EE25FD3229E1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7995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C359B-E290-46D9-9C16-7662B8C4805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87CF2D-B29D-40BA-948D-A9E60BB7733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1463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80F6F-1078-43EE-8A29-17C162E0107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A7783D-B781-46D8-AFA3-34341D98DB4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449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90" y="1709753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90" y="4589479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36FA5-0434-4581-97EF-3B9F79455D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9961D2-48A3-4B5D-A953-CD363EF6987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9997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332BE-6D87-464B-AA92-0AEC29CECD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605652-A70C-4BD4-BFBA-EE1A0B56264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019023"/>
      </p:ext>
    </p:extLst>
  </p:cSld>
  <p:clrMapOvr>
    <a:masterClrMapping/>
  </p:clrMapOvr>
  <p:transition spd="med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3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64" y="1681164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64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8AF3-5D98-4F35-8B71-84A293EFF45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E057D3-96E3-462F-B69E-938AA3446A95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7777060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332BE-6D87-464B-AA92-0AEC29CECD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605652-A70C-4BD4-BFBA-EE1A0B562643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33683721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EBA2A-946F-4C0B-827E-67F3DB8FC91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83E996C-2DBF-4779-8CE5-5A22BB6F5AC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5574622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2DA71-0B3B-4ACB-941C-C8A361EAB0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66" y="6356363"/>
            <a:ext cx="2601383" cy="365125"/>
          </a:xfrm>
        </p:spPr>
        <p:txBody>
          <a:bodyPr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2C22C4C5-74F0-4F63-AC5F-2AEA890F3F2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5588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407" y="987432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51570-3254-4FAE-94F8-F1839D4922C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56D7AD-70E6-47CD-87D6-08DE141701A0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3453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407" y="987432"/>
            <a:ext cx="4629151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02A993-383F-4704-BDA7-E8BB9425FA5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8C76A7-9F89-4CC0-A39E-650F903C7DFF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2723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6A15A-DDD5-42AD-9F37-5150B17915B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1A915B-A50A-445C-BD5A-FB6B462D7DE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8996298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E9C30-6EDC-4628-86FB-7F55249057E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BE4EA7-0C0B-4024-81E3-8BBBCA7CA53C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18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66" y="-20593"/>
            <a:ext cx="2611439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6980"/>
            <a:ext cx="917416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7" y="6616755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6" y="542925"/>
            <a:ext cx="8793163" cy="6288088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766113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71" y="4303604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2" y="5"/>
          <a:ext cx="161925" cy="1619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2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9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5"/>
                        <a:ext cx="161925" cy="16192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22287" y="234950"/>
            <a:ext cx="8796337" cy="1256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96A6969-7C08-4C0C-BED0-EE25FD3229E1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8273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C359B-E290-46D9-9C16-7662B8C4805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87CF2D-B29D-40BA-948D-A9E60BB7733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3497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80F6F-1078-43EE-8A29-17C162E0107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A7783D-B781-46D8-AFA3-34341D98DB4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3316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90" y="1709753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90" y="4589479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36FA5-0434-4581-97EF-3B9F79455D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9961D2-48A3-4B5D-A953-CD363EF6987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5469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3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64" y="1681164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64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8AF3-5D98-4F35-8B71-84A293EFF45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E057D3-96E3-462F-B69E-938AA3446A95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3107427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332BE-6D87-464B-AA92-0AEC29CECD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605652-A70C-4BD4-BFBA-EE1A0B56264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9257580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3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64" y="1681164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64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8AF3-5D98-4F35-8B71-84A293EFF45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E057D3-96E3-462F-B69E-938AA3446A95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007585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EBA2A-946F-4C0B-827E-67F3DB8FC91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83E996C-2DBF-4779-8CE5-5A22BB6F5AC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848235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2DA71-0B3B-4ACB-941C-C8A361EAB0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66" y="6356363"/>
            <a:ext cx="2601383" cy="365125"/>
          </a:xfrm>
        </p:spPr>
        <p:txBody>
          <a:bodyPr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2C22C4C5-74F0-4F63-AC5F-2AEA890F3F2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47458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407" y="987432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51570-3254-4FAE-94F8-F1839D4922C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56D7AD-70E6-47CD-87D6-08DE141701A0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82290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407" y="987432"/>
            <a:ext cx="4629151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02A993-383F-4704-BDA7-E8BB9425FA5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8C76A7-9F89-4CC0-A39E-650F903C7DFF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92955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6A15A-DDD5-42AD-9F37-5150B17915B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1A915B-A50A-445C-BD5A-FB6B462D7DE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969921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E9C30-6EDC-4628-86FB-7F55249057E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BE4EA7-0C0B-4024-81E3-8BBBCA7CA53C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3457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66" y="-20593"/>
            <a:ext cx="2611439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6980"/>
            <a:ext cx="917416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7" y="6616755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6" y="542925"/>
            <a:ext cx="8793163" cy="6288088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766113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71" y="4303604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2" y="5"/>
          <a:ext cx="161925" cy="1619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14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6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5"/>
                        <a:ext cx="161925" cy="16192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22287" y="234950"/>
            <a:ext cx="8796337" cy="1256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96A6969-7C08-4C0C-BED0-EE25FD3229E1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7619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C359B-E290-46D9-9C16-7662B8C4805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87CF2D-B29D-40BA-948D-A9E60BB7733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4532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EBA2A-946F-4C0B-827E-67F3DB8FC91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83E996C-2DBF-4779-8CE5-5A22BB6F5ACE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93450483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80F6F-1078-43EE-8A29-17C162E0107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A7783D-B781-46D8-AFA3-34341D98DB4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827126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90" y="1709753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90" y="4589479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36FA5-0434-4581-97EF-3B9F79455D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9961D2-48A3-4B5D-A953-CD363EF6987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2376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332BE-6D87-464B-AA92-0AEC29CECD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605652-A70C-4BD4-BFBA-EE1A0B56264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154443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3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64" y="1681164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64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8AF3-5D98-4F35-8B71-84A293EFF45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E057D3-96E3-462F-B69E-938AA3446A95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2189155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EBA2A-946F-4C0B-827E-67F3DB8FC91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83E996C-2DBF-4779-8CE5-5A22BB6F5AC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310747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2DA71-0B3B-4ACB-941C-C8A361EAB0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66" y="6356363"/>
            <a:ext cx="2601383" cy="365125"/>
          </a:xfrm>
        </p:spPr>
        <p:txBody>
          <a:bodyPr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2C22C4C5-74F0-4F63-AC5F-2AEA890F3F2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9656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407" y="987432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51570-3254-4FAE-94F8-F1839D4922C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56D7AD-70E6-47CD-87D6-08DE141701A0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6735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407" y="987432"/>
            <a:ext cx="4629151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02A993-383F-4704-BDA7-E8BB9425FA5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8C76A7-9F89-4CC0-A39E-650F903C7DFF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4365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6A15A-DDD5-42AD-9F37-5150B17915B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1A915B-A50A-445C-BD5A-FB6B462D7DE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2826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E9C30-6EDC-4628-86FB-7F55249057E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BE4EA7-0C0B-4024-81E3-8BBBCA7CA53C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9125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2DA71-0B3B-4ACB-941C-C8A361EAB0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66" y="6356363"/>
            <a:ext cx="2601383" cy="365125"/>
          </a:xfrm>
        </p:spPr>
        <p:txBody>
          <a:bodyPr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2C22C4C5-74F0-4F63-AC5F-2AEA890F3F26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09538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66" y="-20593"/>
            <a:ext cx="2611439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6980"/>
            <a:ext cx="917416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7" y="6616755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6" y="542925"/>
            <a:ext cx="8793163" cy="6288088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766113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71" y="4303604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2" y="5"/>
          <a:ext cx="161925" cy="1619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27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5"/>
                        <a:ext cx="161925" cy="16192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22287" y="234950"/>
            <a:ext cx="8796337" cy="1256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96A6969-7C08-4C0C-BED0-EE25FD3229E1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3849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C359B-E290-46D9-9C16-7662B8C4805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87CF2D-B29D-40BA-948D-A9E60BB7733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509596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80F6F-1078-43EE-8A29-17C162E0107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A7783D-B781-46D8-AFA3-34341D98DB4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96009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90" y="1709753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90" y="4589479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36FA5-0434-4581-97EF-3B9F79455D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9961D2-48A3-4B5D-A953-CD363EF6987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2862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332BE-6D87-464B-AA92-0AEC29CECD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605652-A70C-4BD4-BFBA-EE1A0B56264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656337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3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64" y="1681164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64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8AF3-5D98-4F35-8B71-84A293EFF45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E057D3-96E3-462F-B69E-938AA3446A95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199817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EBA2A-946F-4C0B-827E-67F3DB8FC91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83E996C-2DBF-4779-8CE5-5A22BB6F5AC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184294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2DA71-0B3B-4ACB-941C-C8A361EAB0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66" y="6356363"/>
            <a:ext cx="2601383" cy="365125"/>
          </a:xfrm>
        </p:spPr>
        <p:txBody>
          <a:bodyPr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2C22C4C5-74F0-4F63-AC5F-2AEA890F3F2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989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407" y="987432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51570-3254-4FAE-94F8-F1839D4922C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56D7AD-70E6-47CD-87D6-08DE141701A0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87326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407" y="987432"/>
            <a:ext cx="4629151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02A993-383F-4704-BDA7-E8BB9425FA5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8C76A7-9F89-4CC0-A39E-650F903C7DFF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5074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407" y="987432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51570-3254-4FAE-94F8-F1839D4922C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56D7AD-70E6-47CD-87D6-08DE141701A0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696588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6A15A-DDD5-42AD-9F37-5150B17915B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1A915B-A50A-445C-BD5A-FB6B462D7DE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894043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E9C30-6EDC-4628-86FB-7F55249057E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BE4EA7-0C0B-4024-81E3-8BBBCA7CA53C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58423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66" y="-20593"/>
            <a:ext cx="2611439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6980"/>
            <a:ext cx="917416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7" y="6616755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6" y="542925"/>
            <a:ext cx="8793163" cy="6288088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766113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71" y="4303604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2" y="5"/>
          <a:ext cx="161925" cy="1619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5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5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5"/>
                        <a:ext cx="161925" cy="16192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22287" y="234950"/>
            <a:ext cx="8796337" cy="1256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96A6969-7C08-4C0C-BED0-EE25FD3229E1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64261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DC359B-E290-46D9-9C16-7662B8C4805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87CF2D-B29D-40BA-948D-A9E60BB7733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12797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780F6F-1078-43EE-8A29-17C162E0107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A7783D-B781-46D8-AFA3-34341D98DB4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20316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90" y="1709753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90" y="4589479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C36FA5-0434-4581-97EF-3B9F79455D9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9961D2-48A3-4B5D-A953-CD363EF6987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79613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1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332BE-6D87-464B-AA92-0AEC29CECD5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605652-A70C-4BD4-BFBA-EE1A0B562643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114230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3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4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64" y="1681164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64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8AF3-5D98-4F35-8B71-84A293EFF45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FE057D3-96E3-462F-B69E-938AA3446A95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330773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1EBA2A-946F-4C0B-827E-67F3DB8FC91F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83E996C-2DBF-4779-8CE5-5A22BB6F5AC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867741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2DA71-0B3B-4ACB-941C-C8A361EAB0D1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66" y="6356363"/>
            <a:ext cx="2601383" cy="365125"/>
          </a:xfrm>
        </p:spPr>
        <p:txBody>
          <a:bodyPr/>
          <a:lstStyle>
            <a:lvl1pPr>
              <a:defRPr sz="1200" b="1">
                <a:solidFill>
                  <a:schemeClr val="tx1"/>
                </a:solidFill>
              </a:defRPr>
            </a:lvl1pPr>
          </a:lstStyle>
          <a:p>
            <a:fld id="{2C22C4C5-74F0-4F63-AC5F-2AEA890F3F26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26235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407" y="987432"/>
            <a:ext cx="4629151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02A993-383F-4704-BDA7-E8BB9425FA5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8C76A7-9F89-4CC0-A39E-650F903C7DFF}" type="slidenum">
              <a:rPr lang="ru-RU" altLang="ru-RU" smtClean="0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974134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407" y="987432"/>
            <a:ext cx="4629151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351570-3254-4FAE-94F8-F1839D4922C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56D7AD-70E6-47CD-87D6-08DE141701A0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9397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9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407" y="987432"/>
            <a:ext cx="4629151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9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02A993-383F-4704-BDA7-E8BB9425FA5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8C76A7-9F89-4CC0-A39E-650F903C7DFF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73328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06A15A-DDD5-42AD-9F37-5150B17915B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1A915B-A50A-445C-BD5A-FB6B462D7DEE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6631953"/>
      </p:ext>
    </p:extLst>
  </p:cSld>
  <p:clrMapOvr>
    <a:masterClrMapping/>
  </p:clrMapOvr>
  <p:transition spd="med"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7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4E9C30-6EDC-4628-86FB-7F55249057EE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BE4EA7-0C0B-4024-81E3-8BBBCA7CA53C}" type="slidenum">
              <a:rPr lang="ru-RU" altLang="ru-RU" smtClean="0">
                <a:solidFill>
                  <a:prstClr val="black"/>
                </a:solidFill>
              </a:rPr>
              <a:pPr/>
              <a:t>‹#›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7711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22225"/>
            <a:ext cx="9145588" cy="241300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66" y="-20593"/>
            <a:ext cx="2611439" cy="239713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6980"/>
            <a:ext cx="9174163" cy="258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7" y="6616755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400">
                <a:solidFill>
                  <a:srgbClr val="000000"/>
                </a:solidFill>
                <a:latin typeface="Arial" charset="0"/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6" y="542925"/>
            <a:ext cx="8793163" cy="6288088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fontAlgn="base" hangingPunct="1">
                <a:spcBef>
                  <a:spcPct val="20000"/>
                </a:spcBef>
                <a:spcAft>
                  <a:spcPct val="0"/>
                </a:spcAft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766113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71" y="4303604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2" y="5"/>
          <a:ext cx="161925" cy="1619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61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AutoShape 3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5"/>
                        <a:ext cx="161925" cy="16192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22287" y="234950"/>
            <a:ext cx="8796337" cy="1256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96A6969-7C08-4C0C-BED0-EE25FD3229E1}" type="slidenum">
              <a:rPr lang="ru-RU" altLang="ru-RU" smtClean="0">
                <a:solidFill>
                  <a:prstClr val="black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795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1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1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49" y="63563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1BDBC7A-445B-4EB9-AA05-CC554D2926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1" y="635636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ОСНОВНЫЕ ПАРАМЕТРЫ ПРОГНОЗА СОЦИАЛЬНО-ЭКОНОМИЧЕСКОГО РАЗВИТИЯ ИРКУТСКОЙ ОБЛАСТИ НА 2014 ГОД И НА ПЛАНОВЫЙ ПЕРИОД ДО 2016 ГОДА 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49" y="6356363"/>
            <a:ext cx="260985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11801E-9B73-4C84-92D3-67AF03A306FB}" type="slidenum">
              <a:rPr lang="ru-RU" alt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204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69863" indent="-169863" algn="l" defTabSz="684213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5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4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5035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748"/>
            <a:ext cx="2133600" cy="3643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BDD330D-D7C5-4CC3-B5BB-62F8680C9A7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748"/>
            <a:ext cx="2895600" cy="3643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748"/>
            <a:ext cx="2133600" cy="364331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96A6969-7C08-4C0C-BED0-EE25FD3229E1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4294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1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1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49" y="63563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1BDBC7A-445B-4EB9-AA05-CC554D2926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1" y="635636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ОСНОВНЫЕ ПАРАМЕТРЫ ПРОГНОЗА СОЦИАЛЬНО-ЭКОНОМИЧЕСКОГО РАЗВИТИЯ ИРКУТСКОЙ ОБЛАСТИ НА 2014 ГОД И НА ПЛАНОВЫЙ ПЕРИОД ДО 2016 ГОДА 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49" y="6356363"/>
            <a:ext cx="260985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11801E-9B73-4C84-92D3-67AF03A306FB}" type="slidenum">
              <a:rPr lang="ru-RU" alt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44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69863" indent="-169863" algn="l" defTabSz="684213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5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4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1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1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49" y="63563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1BDBC7A-445B-4EB9-AA05-CC554D2926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1" y="635636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ОСНОВНЫЕ ПАРАМЕТРЫ ПРОГНОЗА СОЦИАЛЬНО-ЭКОНОМИЧЕСКОГО РАЗВИТИЯ ИРКУТСКОЙ ОБЛАСТИ НА 2014 ГОД И НА ПЛАНОВЫЙ ПЕРИОД ДО 2016 ГОДА 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49" y="6356363"/>
            <a:ext cx="260985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11801E-9B73-4C84-92D3-67AF03A306FB}" type="slidenum">
              <a:rPr lang="ru-RU" alt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501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69863" indent="-169863" algn="l" defTabSz="684213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5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4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1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1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49" y="63563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1BDBC7A-445B-4EB9-AA05-CC554D2926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1" y="635636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ОСНОВНЫЕ ПАРАМЕТРЫ ПРОГНОЗА СОЦИАЛЬНО-ЭКОНОМИЧЕСКОГО РАЗВИТИЯ ИРКУТСКОЙ ОБЛАСТИ НА 2014 ГОД И НА ПЛАНОВЫЙ ПЕРИОД ДО 2016 ГОДА 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49" y="6356363"/>
            <a:ext cx="260985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11801E-9B73-4C84-92D3-67AF03A306FB}" type="slidenum">
              <a:rPr lang="ru-RU" alt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954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69863" indent="-169863" algn="l" defTabSz="684213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5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4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1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1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49" y="63563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1BDBC7A-445B-4EB9-AA05-CC554D2926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1" y="635636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ОСНОВНЫЕ ПАРАМЕТРЫ ПРОГНОЗА СОЦИАЛЬНО-ЭКОНОМИЧЕСКОГО РАЗВИТИЯ ИРКУТСКОЙ ОБЛАСТИ НА 2014 ГОД И НА ПЛАНОВЫЙ ПЕРИОД ДО 2016 ГОДА 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49" y="6356363"/>
            <a:ext cx="260985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11801E-9B73-4C84-92D3-67AF03A306FB}" type="slidenum">
              <a:rPr lang="ru-RU" alt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279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  <p:sldLayoutId id="2147483896" r:id="rId10"/>
    <p:sldLayoutId id="2147483897" r:id="rId11"/>
    <p:sldLayoutId id="2147483898" r:id="rId12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69863" indent="-169863" algn="l" defTabSz="684213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5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4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1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1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49" y="63563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1BDBC7A-445B-4EB9-AA05-CC554D2926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1" y="635636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ОСНОВНЫЕ ПАРАМЕТРЫ ПРОГНОЗА СОЦИАЛЬНО-ЭКОНОМИЧЕСКОГО РАЗВИТИЯ ИРКУТСКОЙ ОБЛАСТИ НА 2014 ГОД И НА ПЛАНОВЫЙ ПЕРИОД ДО 2016 ГОДА 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49" y="6356363"/>
            <a:ext cx="260985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11801E-9B73-4C84-92D3-67AF03A306FB}" type="slidenum">
              <a:rPr lang="ru-RU" alt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80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69863" indent="-169863" algn="l" defTabSz="684213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5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4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28651" y="365126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28651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49" y="635636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31BDBC7A-445B-4EB9-AA05-CC554D29266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5.12.20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1" y="635636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ОСНОВНЫЕ ПАРАМЕТРЫ ПРОГНОЗА СОЦИАЛЬНО-ЭКОНОМИЧЕСКОГО РАЗВИТИЯ ИРКУТСКОЙ ОБЛАСТИ НА 2014 ГОД И НА ПЛАНОВЫЙ ПЕРИОД ДО 2016 ГОДА 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49" y="6356363"/>
            <a:ext cx="2609851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11801E-9B73-4C84-92D3-67AF03A306FB}" type="slidenum">
              <a:rPr lang="ru-RU" alt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140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69863" indent="-169863" algn="l" defTabSz="684213" rtl="0" eaLnBrk="1" fontAlgn="base" hangingPunct="1">
        <a:lnSpc>
          <a:spcPct val="90000"/>
        </a:lnSpc>
        <a:spcBef>
          <a:spcPts val="750"/>
        </a:spcBef>
        <a:spcAft>
          <a:spcPct val="0"/>
        </a:spcAft>
        <a:buFont typeface="Arial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27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56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85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1463" indent="-169863" algn="l" defTabSz="684213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irkobl.ru/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Группа 99"/>
          <p:cNvGrpSpPr/>
          <p:nvPr/>
        </p:nvGrpSpPr>
        <p:grpSpPr>
          <a:xfrm rot="21095698">
            <a:off x="900859" y="-1237965"/>
            <a:ext cx="7918345" cy="8662864"/>
            <a:chOff x="2045390" y="1136389"/>
            <a:chExt cx="6214834" cy="5579942"/>
          </a:xfrm>
          <a:solidFill>
            <a:schemeClr val="bg1">
              <a:lumMod val="65000"/>
              <a:alpha val="14000"/>
            </a:schemeClr>
          </a:solidFill>
          <a:effectLst/>
        </p:grpSpPr>
        <p:sp>
          <p:nvSpPr>
            <p:cNvPr id="10" name="Freeform 5"/>
            <p:cNvSpPr>
              <a:spLocks/>
            </p:cNvSpPr>
            <p:nvPr/>
          </p:nvSpPr>
          <p:spPr bwMode="auto">
            <a:xfrm rot="21439583">
              <a:off x="6752056" y="2477586"/>
              <a:ext cx="1508168" cy="1735240"/>
            </a:xfrm>
            <a:custGeom>
              <a:avLst/>
              <a:gdLst/>
              <a:ahLst/>
              <a:cxnLst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30" y="67"/>
                </a:cxn>
                <a:cxn ang="0">
                  <a:pos x="52" y="33"/>
                </a:cxn>
                <a:cxn ang="0">
                  <a:pos x="71" y="6"/>
                </a:cxn>
                <a:cxn ang="0">
                  <a:pos x="106" y="7"/>
                </a:cxn>
                <a:cxn ang="0">
                  <a:pos x="140" y="24"/>
                </a:cxn>
                <a:cxn ang="0">
                  <a:pos x="152" y="47"/>
                </a:cxn>
                <a:cxn ang="0">
                  <a:pos x="175" y="75"/>
                </a:cxn>
                <a:cxn ang="0">
                  <a:pos x="196" y="76"/>
                </a:cxn>
                <a:cxn ang="0">
                  <a:pos x="215" y="69"/>
                </a:cxn>
                <a:cxn ang="0">
                  <a:pos x="238" y="90"/>
                </a:cxn>
                <a:cxn ang="0">
                  <a:pos x="246" y="122"/>
                </a:cxn>
                <a:cxn ang="0">
                  <a:pos x="265" y="145"/>
                </a:cxn>
                <a:cxn ang="0">
                  <a:pos x="258" y="174"/>
                </a:cxn>
                <a:cxn ang="0">
                  <a:pos x="228" y="168"/>
                </a:cxn>
                <a:cxn ang="0">
                  <a:pos x="199" y="185"/>
                </a:cxn>
                <a:cxn ang="0">
                  <a:pos x="196" y="204"/>
                </a:cxn>
                <a:cxn ang="0">
                  <a:pos x="191" y="233"/>
                </a:cxn>
                <a:cxn ang="0">
                  <a:pos x="203" y="257"/>
                </a:cxn>
                <a:cxn ang="0">
                  <a:pos x="213" y="265"/>
                </a:cxn>
                <a:cxn ang="0">
                  <a:pos x="218" y="282"/>
                </a:cxn>
                <a:cxn ang="0">
                  <a:pos x="220" y="302"/>
                </a:cxn>
                <a:cxn ang="0">
                  <a:pos x="187" y="319"/>
                </a:cxn>
                <a:cxn ang="0">
                  <a:pos x="139" y="314"/>
                </a:cxn>
                <a:cxn ang="0">
                  <a:pos x="151" y="292"/>
                </a:cxn>
                <a:cxn ang="0">
                  <a:pos x="113" y="293"/>
                </a:cxn>
                <a:cxn ang="0">
                  <a:pos x="95" y="312"/>
                </a:cxn>
                <a:cxn ang="0">
                  <a:pos x="84" y="328"/>
                </a:cxn>
                <a:cxn ang="0">
                  <a:pos x="59" y="346"/>
                </a:cxn>
                <a:cxn ang="0">
                  <a:pos x="28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31" y="327"/>
                </a:cxn>
                <a:cxn ang="0">
                  <a:pos x="24" y="310"/>
                </a:cxn>
                <a:cxn ang="0">
                  <a:pos x="15" y="288"/>
                </a:cxn>
                <a:cxn ang="0">
                  <a:pos x="9" y="276"/>
                </a:cxn>
                <a:cxn ang="0">
                  <a:pos x="10" y="257"/>
                </a:cxn>
                <a:cxn ang="0">
                  <a:pos x="14" y="226"/>
                </a:cxn>
                <a:cxn ang="0">
                  <a:pos x="25" y="209"/>
                </a:cxn>
                <a:cxn ang="0">
                  <a:pos x="18" y="184"/>
                </a:cxn>
                <a:cxn ang="0">
                  <a:pos x="23" y="160"/>
                </a:cxn>
                <a:cxn ang="0">
                  <a:pos x="24" y="129"/>
                </a:cxn>
                <a:cxn ang="0">
                  <a:pos x="18" y="104"/>
                </a:cxn>
              </a:cxnLst>
              <a:rect l="0" t="0" r="r" b="b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8" y="350"/>
                  </a:lnTo>
                  <a:lnTo>
                    <a:pt x="28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" name="Freeform 6"/>
            <p:cNvSpPr>
              <a:spLocks/>
            </p:cNvSpPr>
            <p:nvPr/>
          </p:nvSpPr>
          <p:spPr bwMode="auto">
            <a:xfrm rot="21439583">
              <a:off x="5936291" y="2923073"/>
              <a:ext cx="1012112" cy="1287381"/>
            </a:xfrm>
            <a:custGeom>
              <a:avLst/>
              <a:gdLst/>
              <a:ahLst/>
              <a:cxnLst>
                <a:cxn ang="0">
                  <a:pos x="8" y="81"/>
                </a:cxn>
                <a:cxn ang="0">
                  <a:pos x="18" y="70"/>
                </a:cxn>
                <a:cxn ang="0">
                  <a:pos x="25" y="59"/>
                </a:cxn>
                <a:cxn ang="0">
                  <a:pos x="36" y="51"/>
                </a:cxn>
                <a:cxn ang="0">
                  <a:pos x="52" y="47"/>
                </a:cxn>
                <a:cxn ang="0">
                  <a:pos x="77" y="41"/>
                </a:cxn>
                <a:cxn ang="0">
                  <a:pos x="88" y="29"/>
                </a:cxn>
                <a:cxn ang="0">
                  <a:pos x="98" y="27"/>
                </a:cxn>
                <a:cxn ang="0">
                  <a:pos x="105" y="40"/>
                </a:cxn>
                <a:cxn ang="0">
                  <a:pos x="108" y="51"/>
                </a:cxn>
                <a:cxn ang="0">
                  <a:pos x="106" y="64"/>
                </a:cxn>
                <a:cxn ang="0">
                  <a:pos x="121" y="54"/>
                </a:cxn>
                <a:cxn ang="0">
                  <a:pos x="137" y="51"/>
                </a:cxn>
                <a:cxn ang="0">
                  <a:pos x="149" y="43"/>
                </a:cxn>
                <a:cxn ang="0">
                  <a:pos x="147" y="28"/>
                </a:cxn>
                <a:cxn ang="0">
                  <a:pos x="152" y="15"/>
                </a:cxn>
                <a:cxn ang="0">
                  <a:pos x="159" y="9"/>
                </a:cxn>
                <a:cxn ang="0">
                  <a:pos x="171" y="8"/>
                </a:cxn>
                <a:cxn ang="0">
                  <a:pos x="166" y="38"/>
                </a:cxn>
                <a:cxn ang="0">
                  <a:pos x="167" y="59"/>
                </a:cxn>
                <a:cxn ang="0">
                  <a:pos x="177" y="80"/>
                </a:cxn>
                <a:cxn ang="0">
                  <a:pos x="167" y="99"/>
                </a:cxn>
                <a:cxn ang="0">
                  <a:pos x="181" y="121"/>
                </a:cxn>
                <a:cxn ang="0">
                  <a:pos x="169" y="140"/>
                </a:cxn>
                <a:cxn ang="0">
                  <a:pos x="152" y="161"/>
                </a:cxn>
                <a:cxn ang="0">
                  <a:pos x="149" y="180"/>
                </a:cxn>
                <a:cxn ang="0">
                  <a:pos x="149" y="197"/>
                </a:cxn>
                <a:cxn ang="0">
                  <a:pos x="168" y="216"/>
                </a:cxn>
                <a:cxn ang="0">
                  <a:pos x="171" y="234"/>
                </a:cxn>
                <a:cxn ang="0">
                  <a:pos x="180" y="253"/>
                </a:cxn>
                <a:cxn ang="0">
                  <a:pos x="171" y="265"/>
                </a:cxn>
                <a:cxn ang="0">
                  <a:pos x="156" y="268"/>
                </a:cxn>
                <a:cxn ang="0">
                  <a:pos x="141" y="261"/>
                </a:cxn>
                <a:cxn ang="0">
                  <a:pos x="135" y="244"/>
                </a:cxn>
                <a:cxn ang="0">
                  <a:pos x="127" y="255"/>
                </a:cxn>
                <a:cxn ang="0">
                  <a:pos x="117" y="254"/>
                </a:cxn>
                <a:cxn ang="0">
                  <a:pos x="104" y="251"/>
                </a:cxn>
                <a:cxn ang="0">
                  <a:pos x="92" y="252"/>
                </a:cxn>
                <a:cxn ang="0">
                  <a:pos x="74" y="239"/>
                </a:cxn>
                <a:cxn ang="0">
                  <a:pos x="62" y="265"/>
                </a:cxn>
                <a:cxn ang="0">
                  <a:pos x="29" y="265"/>
                </a:cxn>
                <a:cxn ang="0">
                  <a:pos x="49" y="240"/>
                </a:cxn>
                <a:cxn ang="0">
                  <a:pos x="41" y="213"/>
                </a:cxn>
                <a:cxn ang="0">
                  <a:pos x="41" y="194"/>
                </a:cxn>
                <a:cxn ang="0">
                  <a:pos x="32" y="176"/>
                </a:cxn>
                <a:cxn ang="0">
                  <a:pos x="24" y="155"/>
                </a:cxn>
                <a:cxn ang="0">
                  <a:pos x="34" y="141"/>
                </a:cxn>
                <a:cxn ang="0">
                  <a:pos x="47" y="129"/>
                </a:cxn>
                <a:cxn ang="0">
                  <a:pos x="70" y="116"/>
                </a:cxn>
                <a:cxn ang="0">
                  <a:pos x="68" y="82"/>
                </a:cxn>
                <a:cxn ang="0">
                  <a:pos x="38" y="84"/>
                </a:cxn>
                <a:cxn ang="0">
                  <a:pos x="18" y="100"/>
                </a:cxn>
                <a:cxn ang="0">
                  <a:pos x="4" y="89"/>
                </a:cxn>
              </a:cxnLst>
              <a:rect l="0" t="0" r="r" b="b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2" name="Freeform 8"/>
            <p:cNvSpPr>
              <a:spLocks/>
            </p:cNvSpPr>
            <p:nvPr/>
          </p:nvSpPr>
          <p:spPr bwMode="auto">
            <a:xfrm rot="21439583">
              <a:off x="2936531" y="3794175"/>
              <a:ext cx="630071" cy="1077926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30" y="31"/>
                </a:cxn>
                <a:cxn ang="0">
                  <a:pos x="35" y="28"/>
                </a:cxn>
                <a:cxn ang="0">
                  <a:pos x="46" y="27"/>
                </a:cxn>
                <a:cxn ang="0">
                  <a:pos x="52" y="20"/>
                </a:cxn>
                <a:cxn ang="0">
                  <a:pos x="59" y="12"/>
                </a:cxn>
                <a:cxn ang="0">
                  <a:pos x="61" y="2"/>
                </a:cxn>
                <a:cxn ang="0">
                  <a:pos x="78" y="4"/>
                </a:cxn>
                <a:cxn ang="0">
                  <a:pos x="79" y="18"/>
                </a:cxn>
                <a:cxn ang="0">
                  <a:pos x="84" y="24"/>
                </a:cxn>
                <a:cxn ang="0">
                  <a:pos x="91" y="28"/>
                </a:cxn>
                <a:cxn ang="0">
                  <a:pos x="93" y="51"/>
                </a:cxn>
                <a:cxn ang="0">
                  <a:pos x="108" y="64"/>
                </a:cxn>
                <a:cxn ang="0">
                  <a:pos x="107" y="78"/>
                </a:cxn>
                <a:cxn ang="0">
                  <a:pos x="105" y="88"/>
                </a:cxn>
                <a:cxn ang="0">
                  <a:pos x="110" y="94"/>
                </a:cxn>
                <a:cxn ang="0">
                  <a:pos x="111" y="104"/>
                </a:cxn>
                <a:cxn ang="0">
                  <a:pos x="98" y="112"/>
                </a:cxn>
                <a:cxn ang="0">
                  <a:pos x="98" y="115"/>
                </a:cxn>
                <a:cxn ang="0">
                  <a:pos x="98" y="115"/>
                </a:cxn>
                <a:cxn ang="0">
                  <a:pos x="88" y="120"/>
                </a:cxn>
                <a:cxn ang="0">
                  <a:pos x="83" y="129"/>
                </a:cxn>
                <a:cxn ang="0">
                  <a:pos x="74" y="130"/>
                </a:cxn>
                <a:cxn ang="0">
                  <a:pos x="71" y="139"/>
                </a:cxn>
                <a:cxn ang="0">
                  <a:pos x="81" y="150"/>
                </a:cxn>
                <a:cxn ang="0">
                  <a:pos x="86" y="159"/>
                </a:cxn>
                <a:cxn ang="0">
                  <a:pos x="97" y="159"/>
                </a:cxn>
                <a:cxn ang="0">
                  <a:pos x="101" y="165"/>
                </a:cxn>
                <a:cxn ang="0">
                  <a:pos x="99" y="206"/>
                </a:cxn>
                <a:cxn ang="0">
                  <a:pos x="92" y="210"/>
                </a:cxn>
                <a:cxn ang="0">
                  <a:pos x="78" y="209"/>
                </a:cxn>
                <a:cxn ang="0">
                  <a:pos x="71" y="215"/>
                </a:cxn>
                <a:cxn ang="0">
                  <a:pos x="71" y="223"/>
                </a:cxn>
                <a:cxn ang="0">
                  <a:pos x="61" y="221"/>
                </a:cxn>
                <a:cxn ang="0">
                  <a:pos x="55" y="226"/>
                </a:cxn>
                <a:cxn ang="0">
                  <a:pos x="44" y="215"/>
                </a:cxn>
                <a:cxn ang="0">
                  <a:pos x="37" y="215"/>
                </a:cxn>
                <a:cxn ang="0">
                  <a:pos x="27" y="207"/>
                </a:cxn>
                <a:cxn ang="0">
                  <a:pos x="18" y="200"/>
                </a:cxn>
                <a:cxn ang="0">
                  <a:pos x="7" y="186"/>
                </a:cxn>
                <a:cxn ang="0">
                  <a:pos x="10" y="179"/>
                </a:cxn>
                <a:cxn ang="0">
                  <a:pos x="4" y="173"/>
                </a:cxn>
                <a:cxn ang="0">
                  <a:pos x="6" y="163"/>
                </a:cxn>
                <a:cxn ang="0">
                  <a:pos x="1" y="153"/>
                </a:cxn>
                <a:cxn ang="0">
                  <a:pos x="4" y="146"/>
                </a:cxn>
                <a:cxn ang="0">
                  <a:pos x="6" y="136"/>
                </a:cxn>
                <a:cxn ang="0">
                  <a:pos x="7" y="123"/>
                </a:cxn>
                <a:cxn ang="0">
                  <a:pos x="5" y="110"/>
                </a:cxn>
                <a:cxn ang="0">
                  <a:pos x="10" y="104"/>
                </a:cxn>
                <a:cxn ang="0">
                  <a:pos x="8" y="91"/>
                </a:cxn>
                <a:cxn ang="0">
                  <a:pos x="19" y="89"/>
                </a:cxn>
                <a:cxn ang="0">
                  <a:pos x="17" y="77"/>
                </a:cxn>
                <a:cxn ang="0">
                  <a:pos x="23" y="72"/>
                </a:cxn>
                <a:cxn ang="0">
                  <a:pos x="24" y="52"/>
                </a:cxn>
                <a:cxn ang="0">
                  <a:pos x="29" y="45"/>
                </a:cxn>
                <a:cxn ang="0">
                  <a:pos x="28" y="32"/>
                </a:cxn>
              </a:cxnLst>
              <a:rect l="0" t="0" r="r" b="b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lnTo>
                    <a:pt x="98" y="115"/>
                  </a:ln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 rot="21439583">
              <a:off x="2045390" y="4696010"/>
              <a:ext cx="1344150" cy="1263539"/>
            </a:xfrm>
            <a:custGeom>
              <a:avLst/>
              <a:gdLst/>
              <a:ahLst/>
              <a:cxnLst>
                <a:cxn ang="0">
                  <a:pos x="210" y="238"/>
                </a:cxn>
                <a:cxn ang="0">
                  <a:pos x="199" y="253"/>
                </a:cxn>
                <a:cxn ang="0">
                  <a:pos x="167" y="264"/>
                </a:cxn>
                <a:cxn ang="0">
                  <a:pos x="160" y="247"/>
                </a:cxn>
                <a:cxn ang="0">
                  <a:pos x="142" y="251"/>
                </a:cxn>
                <a:cxn ang="0">
                  <a:pos x="120" y="238"/>
                </a:cxn>
                <a:cxn ang="0">
                  <a:pos x="111" y="226"/>
                </a:cxn>
                <a:cxn ang="0">
                  <a:pos x="92" y="218"/>
                </a:cxn>
                <a:cxn ang="0">
                  <a:pos x="77" y="201"/>
                </a:cxn>
                <a:cxn ang="0">
                  <a:pos x="49" y="182"/>
                </a:cxn>
                <a:cxn ang="0">
                  <a:pos x="35" y="183"/>
                </a:cxn>
                <a:cxn ang="0">
                  <a:pos x="19" y="162"/>
                </a:cxn>
                <a:cxn ang="0">
                  <a:pos x="10" y="145"/>
                </a:cxn>
                <a:cxn ang="0">
                  <a:pos x="1" y="126"/>
                </a:cxn>
                <a:cxn ang="0">
                  <a:pos x="15" y="120"/>
                </a:cxn>
                <a:cxn ang="0">
                  <a:pos x="27" y="106"/>
                </a:cxn>
                <a:cxn ang="0">
                  <a:pos x="43" y="112"/>
                </a:cxn>
                <a:cxn ang="0">
                  <a:pos x="55" y="91"/>
                </a:cxn>
                <a:cxn ang="0">
                  <a:pos x="58" y="79"/>
                </a:cxn>
                <a:cxn ang="0">
                  <a:pos x="79" y="80"/>
                </a:cxn>
                <a:cxn ang="0">
                  <a:pos x="98" y="86"/>
                </a:cxn>
                <a:cxn ang="0">
                  <a:pos x="109" y="106"/>
                </a:cxn>
                <a:cxn ang="0">
                  <a:pos x="128" y="107"/>
                </a:cxn>
                <a:cxn ang="0">
                  <a:pos x="128" y="83"/>
                </a:cxn>
                <a:cxn ang="0">
                  <a:pos x="131" y="67"/>
                </a:cxn>
                <a:cxn ang="0">
                  <a:pos x="151" y="71"/>
                </a:cxn>
                <a:cxn ang="0">
                  <a:pos x="140" y="44"/>
                </a:cxn>
                <a:cxn ang="0">
                  <a:pos x="147" y="27"/>
                </a:cxn>
                <a:cxn ang="0">
                  <a:pos x="170" y="12"/>
                </a:cxn>
                <a:cxn ang="0">
                  <a:pos x="179" y="4"/>
                </a:cxn>
                <a:cxn ang="0">
                  <a:pos x="196" y="21"/>
                </a:cxn>
                <a:cxn ang="0">
                  <a:pos x="224" y="40"/>
                </a:cxn>
                <a:cxn ang="0">
                  <a:pos x="235" y="48"/>
                </a:cxn>
                <a:cxn ang="0">
                  <a:pos x="228" y="81"/>
                </a:cxn>
                <a:cxn ang="0">
                  <a:pos x="226" y="101"/>
                </a:cxn>
                <a:cxn ang="0">
                  <a:pos x="225" y="132"/>
                </a:cxn>
                <a:cxn ang="0">
                  <a:pos x="218" y="145"/>
                </a:cxn>
                <a:cxn ang="0">
                  <a:pos x="203" y="173"/>
                </a:cxn>
                <a:cxn ang="0">
                  <a:pos x="191" y="189"/>
                </a:cxn>
                <a:cxn ang="0">
                  <a:pos x="191" y="210"/>
                </a:cxn>
                <a:cxn ang="0">
                  <a:pos x="211" y="225"/>
                </a:cxn>
                <a:cxn ang="0">
                  <a:pos x="177" y="1"/>
                </a:cxn>
                <a:cxn ang="0">
                  <a:pos x="58" y="76"/>
                </a:cxn>
                <a:cxn ang="0">
                  <a:pos x="57" y="76"/>
                </a:cxn>
              </a:cxnLst>
              <a:rect l="0" t="0" r="r" b="b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 rot="21439583">
              <a:off x="5098311" y="3274651"/>
              <a:ext cx="1306145" cy="1008108"/>
            </a:xfrm>
            <a:custGeom>
              <a:avLst/>
              <a:gdLst/>
              <a:ahLst/>
              <a:cxnLst>
                <a:cxn ang="0">
                  <a:pos x="139" y="12"/>
                </a:cxn>
                <a:cxn ang="0">
                  <a:pos x="156" y="21"/>
                </a:cxn>
                <a:cxn ang="0">
                  <a:pos x="170" y="32"/>
                </a:cxn>
                <a:cxn ang="0">
                  <a:pos x="190" y="16"/>
                </a:cxn>
                <a:cxn ang="0">
                  <a:pos x="220" y="14"/>
                </a:cxn>
                <a:cxn ang="0">
                  <a:pos x="222" y="48"/>
                </a:cxn>
                <a:cxn ang="0">
                  <a:pos x="199" y="61"/>
                </a:cxn>
                <a:cxn ang="0">
                  <a:pos x="186" y="73"/>
                </a:cxn>
                <a:cxn ang="0">
                  <a:pos x="176" y="87"/>
                </a:cxn>
                <a:cxn ang="0">
                  <a:pos x="184" y="108"/>
                </a:cxn>
                <a:cxn ang="0">
                  <a:pos x="193" y="126"/>
                </a:cxn>
                <a:cxn ang="0">
                  <a:pos x="193" y="145"/>
                </a:cxn>
                <a:cxn ang="0">
                  <a:pos x="201" y="172"/>
                </a:cxn>
                <a:cxn ang="0">
                  <a:pos x="181" y="197"/>
                </a:cxn>
                <a:cxn ang="0">
                  <a:pos x="168" y="189"/>
                </a:cxn>
                <a:cxn ang="0">
                  <a:pos x="156" y="199"/>
                </a:cxn>
                <a:cxn ang="0">
                  <a:pos x="130" y="187"/>
                </a:cxn>
                <a:cxn ang="0">
                  <a:pos x="112" y="182"/>
                </a:cxn>
                <a:cxn ang="0">
                  <a:pos x="103" y="147"/>
                </a:cxn>
                <a:cxn ang="0">
                  <a:pos x="76" y="150"/>
                </a:cxn>
                <a:cxn ang="0">
                  <a:pos x="61" y="182"/>
                </a:cxn>
                <a:cxn ang="0">
                  <a:pos x="47" y="189"/>
                </a:cxn>
                <a:cxn ang="0">
                  <a:pos x="23" y="207"/>
                </a:cxn>
                <a:cxn ang="0">
                  <a:pos x="0" y="192"/>
                </a:cxn>
                <a:cxn ang="0">
                  <a:pos x="11" y="178"/>
                </a:cxn>
                <a:cxn ang="0">
                  <a:pos x="18" y="159"/>
                </a:cxn>
                <a:cxn ang="0">
                  <a:pos x="13" y="133"/>
                </a:cxn>
                <a:cxn ang="0">
                  <a:pos x="26" y="125"/>
                </a:cxn>
                <a:cxn ang="0">
                  <a:pos x="10" y="108"/>
                </a:cxn>
                <a:cxn ang="0">
                  <a:pos x="12" y="79"/>
                </a:cxn>
                <a:cxn ang="0">
                  <a:pos x="23" y="73"/>
                </a:cxn>
                <a:cxn ang="0">
                  <a:pos x="29" y="54"/>
                </a:cxn>
                <a:cxn ang="0">
                  <a:pos x="42" y="44"/>
                </a:cxn>
                <a:cxn ang="0">
                  <a:pos x="52" y="52"/>
                </a:cxn>
                <a:cxn ang="0">
                  <a:pos x="64" y="67"/>
                </a:cxn>
                <a:cxn ang="0">
                  <a:pos x="77" y="81"/>
                </a:cxn>
                <a:cxn ang="0">
                  <a:pos x="85" y="57"/>
                </a:cxn>
                <a:cxn ang="0">
                  <a:pos x="89" y="36"/>
                </a:cxn>
                <a:cxn ang="0">
                  <a:pos x="107" y="16"/>
                </a:cxn>
                <a:cxn ang="0">
                  <a:pos x="128" y="0"/>
                </a:cxn>
                <a:cxn ang="0">
                  <a:pos x="234" y="174"/>
                </a:cxn>
                <a:cxn ang="0">
                  <a:pos x="181" y="197"/>
                </a:cxn>
                <a:cxn ang="0">
                  <a:pos x="181" y="197"/>
                </a:cxn>
                <a:cxn ang="0">
                  <a:pos x="181" y="197"/>
                </a:cxn>
              </a:cxnLst>
              <a:rect l="0" t="0" r="r" b="b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 rot="21439583">
              <a:off x="3027423" y="5063253"/>
              <a:ext cx="598067" cy="807167"/>
            </a:xfrm>
            <a:custGeom>
              <a:avLst/>
              <a:gdLst/>
              <a:ahLst/>
              <a:cxnLst>
                <a:cxn ang="0">
                  <a:pos x="58" y="170"/>
                </a:cxn>
                <a:cxn ang="0">
                  <a:pos x="61" y="162"/>
                </a:cxn>
                <a:cxn ang="0">
                  <a:pos x="57" y="159"/>
                </a:cxn>
                <a:cxn ang="0">
                  <a:pos x="55" y="151"/>
                </a:cxn>
                <a:cxn ang="0">
                  <a:pos x="49" y="151"/>
                </a:cxn>
                <a:cxn ang="0">
                  <a:pos x="46" y="150"/>
                </a:cxn>
                <a:cxn ang="0">
                  <a:pos x="36" y="143"/>
                </a:cxn>
                <a:cxn ang="0">
                  <a:pos x="28" y="135"/>
                </a:cxn>
                <a:cxn ang="0">
                  <a:pos x="20" y="141"/>
                </a:cxn>
                <a:cxn ang="0">
                  <a:pos x="16" y="128"/>
                </a:cxn>
                <a:cxn ang="0">
                  <a:pos x="12" y="116"/>
                </a:cxn>
                <a:cxn ang="0">
                  <a:pos x="2" y="107"/>
                </a:cxn>
                <a:cxn ang="0">
                  <a:pos x="16" y="107"/>
                </a:cxn>
                <a:cxn ang="0">
                  <a:pos x="12" y="98"/>
                </a:cxn>
                <a:cxn ang="0">
                  <a:pos x="16" y="89"/>
                </a:cxn>
                <a:cxn ang="0">
                  <a:pos x="28" y="91"/>
                </a:cxn>
                <a:cxn ang="0">
                  <a:pos x="31" y="79"/>
                </a:cxn>
                <a:cxn ang="0">
                  <a:pos x="31" y="66"/>
                </a:cxn>
                <a:cxn ang="0">
                  <a:pos x="43" y="63"/>
                </a:cxn>
                <a:cxn ang="0">
                  <a:pos x="34" y="54"/>
                </a:cxn>
                <a:cxn ang="0">
                  <a:pos x="35" y="45"/>
                </a:cxn>
                <a:cxn ang="0">
                  <a:pos x="50" y="50"/>
                </a:cxn>
                <a:cxn ang="0">
                  <a:pos x="53" y="40"/>
                </a:cxn>
                <a:cxn ang="0">
                  <a:pos x="48" y="31"/>
                </a:cxn>
                <a:cxn ang="0">
                  <a:pos x="51" y="19"/>
                </a:cxn>
                <a:cxn ang="0">
                  <a:pos x="43" y="12"/>
                </a:cxn>
                <a:cxn ang="0">
                  <a:pos x="46" y="4"/>
                </a:cxn>
                <a:cxn ang="0">
                  <a:pos x="50" y="2"/>
                </a:cxn>
                <a:cxn ang="0">
                  <a:pos x="91" y="3"/>
                </a:cxn>
                <a:cxn ang="0">
                  <a:pos x="95" y="9"/>
                </a:cxn>
                <a:cxn ang="0">
                  <a:pos x="107" y="9"/>
                </a:cxn>
                <a:cxn ang="0">
                  <a:pos x="103" y="14"/>
                </a:cxn>
                <a:cxn ang="0">
                  <a:pos x="105" y="20"/>
                </a:cxn>
                <a:cxn ang="0">
                  <a:pos x="97" y="21"/>
                </a:cxn>
                <a:cxn ang="0">
                  <a:pos x="87" y="26"/>
                </a:cxn>
                <a:cxn ang="0">
                  <a:pos x="88" y="34"/>
                </a:cxn>
                <a:cxn ang="0">
                  <a:pos x="97" y="34"/>
                </a:cxn>
                <a:cxn ang="0">
                  <a:pos x="98" y="41"/>
                </a:cxn>
                <a:cxn ang="0">
                  <a:pos x="105" y="44"/>
                </a:cxn>
                <a:cxn ang="0">
                  <a:pos x="107" y="55"/>
                </a:cxn>
                <a:cxn ang="0">
                  <a:pos x="104" y="62"/>
                </a:cxn>
                <a:cxn ang="0">
                  <a:pos x="100" y="63"/>
                </a:cxn>
                <a:cxn ang="0">
                  <a:pos x="101" y="73"/>
                </a:cxn>
                <a:cxn ang="0">
                  <a:pos x="97" y="77"/>
                </a:cxn>
                <a:cxn ang="0">
                  <a:pos x="82" y="80"/>
                </a:cxn>
                <a:cxn ang="0">
                  <a:pos x="81" y="86"/>
                </a:cxn>
                <a:cxn ang="0">
                  <a:pos x="91" y="89"/>
                </a:cxn>
                <a:cxn ang="0">
                  <a:pos x="94" y="94"/>
                </a:cxn>
                <a:cxn ang="0">
                  <a:pos x="87" y="95"/>
                </a:cxn>
                <a:cxn ang="0">
                  <a:pos x="85" y="103"/>
                </a:cxn>
                <a:cxn ang="0">
                  <a:pos x="77" y="106"/>
                </a:cxn>
                <a:cxn ang="0">
                  <a:pos x="77" y="115"/>
                </a:cxn>
                <a:cxn ang="0">
                  <a:pos x="85" y="115"/>
                </a:cxn>
                <a:cxn ang="0">
                  <a:pos x="91" y="119"/>
                </a:cxn>
                <a:cxn ang="0">
                  <a:pos x="90" y="126"/>
                </a:cxn>
                <a:cxn ang="0">
                  <a:pos x="83" y="130"/>
                </a:cxn>
                <a:cxn ang="0">
                  <a:pos x="77" y="138"/>
                </a:cxn>
                <a:cxn ang="0">
                  <a:pos x="76" y="148"/>
                </a:cxn>
                <a:cxn ang="0">
                  <a:pos x="65" y="147"/>
                </a:cxn>
                <a:cxn ang="0">
                  <a:pos x="62" y="151"/>
                </a:cxn>
                <a:cxn ang="0">
                  <a:pos x="66" y="154"/>
                </a:cxn>
                <a:cxn ang="0">
                  <a:pos x="69" y="160"/>
                </a:cxn>
                <a:cxn ang="0">
                  <a:pos x="58" y="170"/>
                </a:cxn>
              </a:cxnLst>
              <a:rect l="0" t="0" r="r" b="b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 rot="21439583">
              <a:off x="3356636" y="5584269"/>
              <a:ext cx="720080" cy="480213"/>
            </a:xfrm>
            <a:custGeom>
              <a:avLst/>
              <a:gdLst/>
              <a:ahLst/>
              <a:cxnLst>
                <a:cxn ang="0">
                  <a:pos x="46" y="101"/>
                </a:cxn>
                <a:cxn ang="0">
                  <a:pos x="41" y="97"/>
                </a:cxn>
                <a:cxn ang="0">
                  <a:pos x="35" y="93"/>
                </a:cxn>
                <a:cxn ang="0">
                  <a:pos x="28" y="92"/>
                </a:cxn>
                <a:cxn ang="0">
                  <a:pos x="26" y="87"/>
                </a:cxn>
                <a:cxn ang="0">
                  <a:pos x="19" y="80"/>
                </a:cxn>
                <a:cxn ang="0">
                  <a:pos x="10" y="78"/>
                </a:cxn>
                <a:cxn ang="0">
                  <a:pos x="10" y="73"/>
                </a:cxn>
                <a:cxn ang="0">
                  <a:pos x="4" y="70"/>
                </a:cxn>
                <a:cxn ang="0">
                  <a:pos x="0" y="61"/>
                </a:cxn>
                <a:cxn ang="0">
                  <a:pos x="1" y="57"/>
                </a:cxn>
                <a:cxn ang="0">
                  <a:pos x="10" y="49"/>
                </a:cxn>
                <a:cxn ang="0">
                  <a:pos x="19" y="49"/>
                </a:cxn>
                <a:cxn ang="0">
                  <a:pos x="35" y="49"/>
                </a:cxn>
                <a:cxn ang="0">
                  <a:pos x="36" y="43"/>
                </a:cxn>
                <a:cxn ang="0">
                  <a:pos x="44" y="43"/>
                </a:cxn>
                <a:cxn ang="0">
                  <a:pos x="50" y="39"/>
                </a:cxn>
                <a:cxn ang="0">
                  <a:pos x="57" y="32"/>
                </a:cxn>
                <a:cxn ang="0">
                  <a:pos x="66" y="37"/>
                </a:cxn>
                <a:cxn ang="0">
                  <a:pos x="66" y="31"/>
                </a:cxn>
                <a:cxn ang="0">
                  <a:pos x="74" y="31"/>
                </a:cxn>
                <a:cxn ang="0">
                  <a:pos x="76" y="25"/>
                </a:cxn>
                <a:cxn ang="0">
                  <a:pos x="84" y="24"/>
                </a:cxn>
                <a:cxn ang="0">
                  <a:pos x="87" y="17"/>
                </a:cxn>
                <a:cxn ang="0">
                  <a:pos x="93" y="15"/>
                </a:cxn>
                <a:cxn ang="0">
                  <a:pos x="101" y="9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114" y="9"/>
                </a:cxn>
                <a:cxn ang="0">
                  <a:pos x="120" y="9"/>
                </a:cxn>
                <a:cxn ang="0">
                  <a:pos x="123" y="13"/>
                </a:cxn>
                <a:cxn ang="0">
                  <a:pos x="118" y="17"/>
                </a:cxn>
                <a:cxn ang="0">
                  <a:pos x="122" y="20"/>
                </a:cxn>
                <a:cxn ang="0">
                  <a:pos x="127" y="22"/>
                </a:cxn>
                <a:cxn ang="0">
                  <a:pos x="128" y="28"/>
                </a:cxn>
                <a:cxn ang="0">
                  <a:pos x="126" y="36"/>
                </a:cxn>
                <a:cxn ang="0">
                  <a:pos x="119" y="38"/>
                </a:cxn>
                <a:cxn ang="0">
                  <a:pos x="119" y="46"/>
                </a:cxn>
                <a:cxn ang="0">
                  <a:pos x="112" y="43"/>
                </a:cxn>
                <a:cxn ang="0">
                  <a:pos x="110" y="49"/>
                </a:cxn>
                <a:cxn ang="0">
                  <a:pos x="97" y="48"/>
                </a:cxn>
                <a:cxn ang="0">
                  <a:pos x="99" y="59"/>
                </a:cxn>
                <a:cxn ang="0">
                  <a:pos x="87" y="58"/>
                </a:cxn>
                <a:cxn ang="0">
                  <a:pos x="88" y="73"/>
                </a:cxn>
                <a:cxn ang="0">
                  <a:pos x="78" y="72"/>
                </a:cxn>
                <a:cxn ang="0">
                  <a:pos x="66" y="70"/>
                </a:cxn>
                <a:cxn ang="0">
                  <a:pos x="59" y="72"/>
                </a:cxn>
                <a:cxn ang="0">
                  <a:pos x="49" y="80"/>
                </a:cxn>
                <a:cxn ang="0">
                  <a:pos x="42" y="86"/>
                </a:cxn>
                <a:cxn ang="0">
                  <a:pos x="46" y="101"/>
                </a:cxn>
              </a:cxnLst>
              <a:rect l="0" t="0" r="r" b="b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 rot="21439583">
              <a:off x="3597638" y="5802537"/>
              <a:ext cx="702080" cy="461482"/>
            </a:xfrm>
            <a:custGeom>
              <a:avLst/>
              <a:gdLst/>
              <a:ahLst/>
              <a:cxnLst>
                <a:cxn ang="0">
                  <a:pos x="57" y="94"/>
                </a:cxn>
                <a:cxn ang="0">
                  <a:pos x="53" y="91"/>
                </a:cxn>
                <a:cxn ang="0">
                  <a:pos x="49" y="96"/>
                </a:cxn>
                <a:cxn ang="0">
                  <a:pos x="42" y="95"/>
                </a:cxn>
                <a:cxn ang="0">
                  <a:pos x="41" y="85"/>
                </a:cxn>
                <a:cxn ang="0">
                  <a:pos x="32" y="81"/>
                </a:cxn>
                <a:cxn ang="0">
                  <a:pos x="28" y="73"/>
                </a:cxn>
                <a:cxn ang="0">
                  <a:pos x="18" y="65"/>
                </a:cxn>
                <a:cxn ang="0">
                  <a:pos x="14" y="59"/>
                </a:cxn>
                <a:cxn ang="0">
                  <a:pos x="2" y="49"/>
                </a:cxn>
                <a:cxn ang="0">
                  <a:pos x="5" y="52"/>
                </a:cxn>
                <a:cxn ang="0">
                  <a:pos x="1" y="37"/>
                </a:cxn>
                <a:cxn ang="0">
                  <a:pos x="8" y="31"/>
                </a:cxn>
                <a:cxn ang="0">
                  <a:pos x="18" y="23"/>
                </a:cxn>
                <a:cxn ang="0">
                  <a:pos x="25" y="21"/>
                </a:cxn>
                <a:cxn ang="0">
                  <a:pos x="37" y="23"/>
                </a:cxn>
                <a:cxn ang="0">
                  <a:pos x="47" y="24"/>
                </a:cxn>
                <a:cxn ang="0">
                  <a:pos x="46" y="9"/>
                </a:cxn>
                <a:cxn ang="0">
                  <a:pos x="58" y="10"/>
                </a:cxn>
                <a:cxn ang="0">
                  <a:pos x="68" y="15"/>
                </a:cxn>
                <a:cxn ang="0">
                  <a:pos x="76" y="26"/>
                </a:cxn>
                <a:cxn ang="0">
                  <a:pos x="87" y="25"/>
                </a:cxn>
                <a:cxn ang="0">
                  <a:pos x="93" y="16"/>
                </a:cxn>
                <a:cxn ang="0">
                  <a:pos x="96" y="5"/>
                </a:cxn>
                <a:cxn ang="0">
                  <a:pos x="106" y="9"/>
                </a:cxn>
                <a:cxn ang="0">
                  <a:pos x="110" y="3"/>
                </a:cxn>
                <a:cxn ang="0">
                  <a:pos x="123" y="0"/>
                </a:cxn>
                <a:cxn ang="0">
                  <a:pos x="125" y="6"/>
                </a:cxn>
                <a:cxn ang="0">
                  <a:pos x="120" y="11"/>
                </a:cxn>
                <a:cxn ang="0">
                  <a:pos x="123" y="32"/>
                </a:cxn>
                <a:cxn ang="0">
                  <a:pos x="116" y="39"/>
                </a:cxn>
                <a:cxn ang="0">
                  <a:pos x="107" y="39"/>
                </a:cxn>
                <a:cxn ang="0">
                  <a:pos x="101" y="45"/>
                </a:cxn>
                <a:cxn ang="0">
                  <a:pos x="99" y="56"/>
                </a:cxn>
                <a:cxn ang="0">
                  <a:pos x="93" y="56"/>
                </a:cxn>
                <a:cxn ang="0">
                  <a:pos x="94" y="66"/>
                </a:cxn>
                <a:cxn ang="0">
                  <a:pos x="88" y="68"/>
                </a:cxn>
                <a:cxn ang="0">
                  <a:pos x="86" y="80"/>
                </a:cxn>
                <a:cxn ang="0">
                  <a:pos x="72" y="85"/>
                </a:cxn>
                <a:cxn ang="0">
                  <a:pos x="70" y="91"/>
                </a:cxn>
                <a:cxn ang="0">
                  <a:pos x="57" y="94"/>
                </a:cxn>
              </a:cxnLst>
              <a:rect l="0" t="0" r="r" b="b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 rot="21439583">
              <a:off x="3921661" y="5939952"/>
              <a:ext cx="492055" cy="475105"/>
            </a:xfrm>
            <a:custGeom>
              <a:avLst/>
              <a:gdLst/>
              <a:ahLst/>
              <a:cxnLst>
                <a:cxn ang="0">
                  <a:pos x="18" y="84"/>
                </a:cxn>
                <a:cxn ang="0">
                  <a:pos x="15" y="82"/>
                </a:cxn>
                <a:cxn ang="0">
                  <a:pos x="0" y="64"/>
                </a:cxn>
                <a:cxn ang="0">
                  <a:pos x="13" y="61"/>
                </a:cxn>
                <a:cxn ang="0">
                  <a:pos x="15" y="55"/>
                </a:cxn>
                <a:cxn ang="0">
                  <a:pos x="29" y="50"/>
                </a:cxn>
                <a:cxn ang="0">
                  <a:pos x="31" y="38"/>
                </a:cxn>
                <a:cxn ang="0">
                  <a:pos x="37" y="36"/>
                </a:cxn>
                <a:cxn ang="0">
                  <a:pos x="36" y="26"/>
                </a:cxn>
                <a:cxn ang="0">
                  <a:pos x="42" y="26"/>
                </a:cxn>
                <a:cxn ang="0">
                  <a:pos x="44" y="15"/>
                </a:cxn>
                <a:cxn ang="0">
                  <a:pos x="50" y="9"/>
                </a:cxn>
                <a:cxn ang="0">
                  <a:pos x="59" y="9"/>
                </a:cxn>
                <a:cxn ang="0">
                  <a:pos x="66" y="2"/>
                </a:cxn>
                <a:cxn ang="0">
                  <a:pos x="66" y="0"/>
                </a:cxn>
                <a:cxn ang="0">
                  <a:pos x="73" y="2"/>
                </a:cxn>
                <a:cxn ang="0">
                  <a:pos x="80" y="7"/>
                </a:cxn>
                <a:cxn ang="0">
                  <a:pos x="81" y="18"/>
                </a:cxn>
                <a:cxn ang="0">
                  <a:pos x="86" y="24"/>
                </a:cxn>
                <a:cxn ang="0">
                  <a:pos x="88" y="30"/>
                </a:cxn>
                <a:cxn ang="0">
                  <a:pos x="86" y="37"/>
                </a:cxn>
                <a:cxn ang="0">
                  <a:pos x="80" y="47"/>
                </a:cxn>
                <a:cxn ang="0">
                  <a:pos x="73" y="49"/>
                </a:cxn>
                <a:cxn ang="0">
                  <a:pos x="64" y="52"/>
                </a:cxn>
                <a:cxn ang="0">
                  <a:pos x="55" y="56"/>
                </a:cxn>
                <a:cxn ang="0">
                  <a:pos x="53" y="62"/>
                </a:cxn>
                <a:cxn ang="0">
                  <a:pos x="70" y="62"/>
                </a:cxn>
                <a:cxn ang="0">
                  <a:pos x="71" y="68"/>
                </a:cxn>
                <a:cxn ang="0">
                  <a:pos x="78" y="70"/>
                </a:cxn>
                <a:cxn ang="0">
                  <a:pos x="74" y="77"/>
                </a:cxn>
                <a:cxn ang="0">
                  <a:pos x="67" y="84"/>
                </a:cxn>
                <a:cxn ang="0">
                  <a:pos x="66" y="90"/>
                </a:cxn>
                <a:cxn ang="0">
                  <a:pos x="65" y="98"/>
                </a:cxn>
                <a:cxn ang="0">
                  <a:pos x="57" y="96"/>
                </a:cxn>
                <a:cxn ang="0">
                  <a:pos x="50" y="92"/>
                </a:cxn>
                <a:cxn ang="0">
                  <a:pos x="42" y="90"/>
                </a:cxn>
                <a:cxn ang="0">
                  <a:pos x="35" y="89"/>
                </a:cxn>
                <a:cxn ang="0">
                  <a:pos x="29" y="82"/>
                </a:cxn>
                <a:cxn ang="0">
                  <a:pos x="18" y="84"/>
                </a:cxn>
              </a:cxnLst>
              <a:rect l="0" t="0" r="r" b="b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 rot="21439583">
              <a:off x="4291159" y="6194786"/>
              <a:ext cx="252028" cy="23159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2" y="8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33" y="8"/>
                </a:cxn>
                <a:cxn ang="0">
                  <a:pos x="35" y="16"/>
                </a:cxn>
                <a:cxn ang="0">
                  <a:pos x="44" y="21"/>
                </a:cxn>
                <a:cxn ang="0">
                  <a:pos x="42" y="34"/>
                </a:cxn>
                <a:cxn ang="0">
                  <a:pos x="35" y="37"/>
                </a:cxn>
                <a:cxn ang="0">
                  <a:pos x="37" y="49"/>
                </a:cxn>
                <a:cxn ang="0">
                  <a:pos x="34" y="48"/>
                </a:cxn>
                <a:cxn ang="0">
                  <a:pos x="19" y="48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1" y="33"/>
                </a:cxn>
                <a:cxn ang="0">
                  <a:pos x="2" y="27"/>
                </a:cxn>
                <a:cxn ang="0">
                  <a:pos x="9" y="20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1"/>
                </a:cxn>
              </a:cxnLst>
              <a:rect l="0" t="0" r="r" b="b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 rot="21439583">
              <a:off x="4037849" y="6311045"/>
              <a:ext cx="860096" cy="405286"/>
            </a:xfrm>
            <a:custGeom>
              <a:avLst/>
              <a:gdLst/>
              <a:ahLst/>
              <a:cxnLst>
                <a:cxn ang="0">
                  <a:pos x="154" y="30"/>
                </a:cxn>
                <a:cxn ang="0">
                  <a:pos x="142" y="32"/>
                </a:cxn>
                <a:cxn ang="0">
                  <a:pos x="126" y="33"/>
                </a:cxn>
                <a:cxn ang="0">
                  <a:pos x="58" y="32"/>
                </a:cxn>
                <a:cxn ang="0">
                  <a:pos x="114" y="58"/>
                </a:cxn>
                <a:cxn ang="0">
                  <a:pos x="116" y="64"/>
                </a:cxn>
                <a:cxn ang="0">
                  <a:pos x="113" y="72"/>
                </a:cxn>
                <a:cxn ang="0">
                  <a:pos x="88" y="72"/>
                </a:cxn>
                <a:cxn ang="0">
                  <a:pos x="87" y="78"/>
                </a:cxn>
                <a:cxn ang="0">
                  <a:pos x="80" y="78"/>
                </a:cxn>
                <a:cxn ang="0">
                  <a:pos x="76" y="84"/>
                </a:cxn>
                <a:cxn ang="0">
                  <a:pos x="67" y="82"/>
                </a:cxn>
                <a:cxn ang="0">
                  <a:pos x="65" y="74"/>
                </a:cxn>
                <a:cxn ang="0">
                  <a:pos x="63" y="55"/>
                </a:cxn>
                <a:cxn ang="0">
                  <a:pos x="43" y="57"/>
                </a:cxn>
                <a:cxn ang="0">
                  <a:pos x="33" y="49"/>
                </a:cxn>
                <a:cxn ang="0">
                  <a:pos x="34" y="26"/>
                </a:cxn>
                <a:cxn ang="0">
                  <a:pos x="29" y="17"/>
                </a:cxn>
                <a:cxn ang="0">
                  <a:pos x="18" y="15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2" y="0"/>
                </a:cxn>
                <a:cxn ang="0">
                  <a:pos x="18" y="7"/>
                </a:cxn>
                <a:cxn ang="0">
                  <a:pos x="25" y="8"/>
                </a:cxn>
                <a:cxn ang="0">
                  <a:pos x="33" y="10"/>
                </a:cxn>
                <a:cxn ang="0">
                  <a:pos x="40" y="14"/>
                </a:cxn>
                <a:cxn ang="0">
                  <a:pos x="48" y="16"/>
                </a:cxn>
                <a:cxn ang="0">
                  <a:pos x="56" y="22"/>
                </a:cxn>
                <a:cxn ang="0">
                  <a:pos x="67" y="23"/>
                </a:cxn>
                <a:cxn ang="0">
                  <a:pos x="82" y="23"/>
                </a:cxn>
                <a:cxn ang="0">
                  <a:pos x="154" y="30"/>
                </a:cxn>
              </a:cxnLst>
              <a:rect l="0" t="0" r="r" b="b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 rot="21439583">
              <a:off x="3440681" y="5018480"/>
              <a:ext cx="586066" cy="618146"/>
            </a:xfrm>
            <a:custGeom>
              <a:avLst/>
              <a:gdLst/>
              <a:ahLst/>
              <a:cxnLst>
                <a:cxn ang="0">
                  <a:pos x="16" y="130"/>
                </a:cxn>
                <a:cxn ang="0">
                  <a:pos x="24" y="128"/>
                </a:cxn>
                <a:cxn ang="0">
                  <a:pos x="24" y="122"/>
                </a:cxn>
                <a:cxn ang="0">
                  <a:pos x="28" y="120"/>
                </a:cxn>
                <a:cxn ang="0">
                  <a:pos x="28" y="109"/>
                </a:cxn>
                <a:cxn ang="0">
                  <a:pos x="44" y="106"/>
                </a:cxn>
                <a:cxn ang="0">
                  <a:pos x="49" y="102"/>
                </a:cxn>
                <a:cxn ang="0">
                  <a:pos x="61" y="102"/>
                </a:cxn>
                <a:cxn ang="0">
                  <a:pos x="69" y="95"/>
                </a:cxn>
                <a:cxn ang="0">
                  <a:pos x="73" y="86"/>
                </a:cxn>
                <a:cxn ang="0">
                  <a:pos x="81" y="84"/>
                </a:cxn>
                <a:cxn ang="0">
                  <a:pos x="84" y="78"/>
                </a:cxn>
                <a:cxn ang="0">
                  <a:pos x="83" y="71"/>
                </a:cxn>
                <a:cxn ang="0">
                  <a:pos x="89" y="65"/>
                </a:cxn>
                <a:cxn ang="0">
                  <a:pos x="101" y="65"/>
                </a:cxn>
                <a:cxn ang="0">
                  <a:pos x="100" y="53"/>
                </a:cxn>
                <a:cxn ang="0">
                  <a:pos x="101" y="46"/>
                </a:cxn>
                <a:cxn ang="0">
                  <a:pos x="104" y="39"/>
                </a:cxn>
                <a:cxn ang="0">
                  <a:pos x="105" y="23"/>
                </a:cxn>
                <a:cxn ang="0">
                  <a:pos x="103" y="22"/>
                </a:cxn>
                <a:cxn ang="0">
                  <a:pos x="98" y="13"/>
                </a:cxn>
                <a:cxn ang="0">
                  <a:pos x="88" y="13"/>
                </a:cxn>
                <a:cxn ang="0">
                  <a:pos x="82" y="1"/>
                </a:cxn>
                <a:cxn ang="0">
                  <a:pos x="75" y="6"/>
                </a:cxn>
                <a:cxn ang="0">
                  <a:pos x="58" y="3"/>
                </a:cxn>
                <a:cxn ang="0">
                  <a:pos x="53" y="11"/>
                </a:cxn>
                <a:cxn ang="0">
                  <a:pos x="44" y="13"/>
                </a:cxn>
                <a:cxn ang="0">
                  <a:pos x="40" y="22"/>
                </a:cxn>
                <a:cxn ang="0">
                  <a:pos x="32" y="15"/>
                </a:cxn>
                <a:cxn ang="0">
                  <a:pos x="32" y="15"/>
                </a:cxn>
                <a:cxn ang="0">
                  <a:pos x="28" y="20"/>
                </a:cxn>
                <a:cxn ang="0">
                  <a:pos x="30" y="26"/>
                </a:cxn>
                <a:cxn ang="0">
                  <a:pos x="22" y="27"/>
                </a:cxn>
                <a:cxn ang="0">
                  <a:pos x="12" y="32"/>
                </a:cxn>
                <a:cxn ang="0">
                  <a:pos x="13" y="40"/>
                </a:cxn>
                <a:cxn ang="0">
                  <a:pos x="22" y="40"/>
                </a:cxn>
                <a:cxn ang="0">
                  <a:pos x="23" y="47"/>
                </a:cxn>
                <a:cxn ang="0">
                  <a:pos x="30" y="50"/>
                </a:cxn>
                <a:cxn ang="0">
                  <a:pos x="32" y="61"/>
                </a:cxn>
                <a:cxn ang="0">
                  <a:pos x="29" y="68"/>
                </a:cxn>
                <a:cxn ang="0">
                  <a:pos x="25" y="69"/>
                </a:cxn>
                <a:cxn ang="0">
                  <a:pos x="26" y="79"/>
                </a:cxn>
                <a:cxn ang="0">
                  <a:pos x="22" y="83"/>
                </a:cxn>
                <a:cxn ang="0">
                  <a:pos x="7" y="86"/>
                </a:cxn>
                <a:cxn ang="0">
                  <a:pos x="6" y="92"/>
                </a:cxn>
                <a:cxn ang="0">
                  <a:pos x="16" y="95"/>
                </a:cxn>
                <a:cxn ang="0">
                  <a:pos x="19" y="100"/>
                </a:cxn>
                <a:cxn ang="0">
                  <a:pos x="12" y="101"/>
                </a:cxn>
                <a:cxn ang="0">
                  <a:pos x="10" y="109"/>
                </a:cxn>
                <a:cxn ang="0">
                  <a:pos x="2" y="112"/>
                </a:cxn>
                <a:cxn ang="0">
                  <a:pos x="2" y="121"/>
                </a:cxn>
                <a:cxn ang="0">
                  <a:pos x="10" y="121"/>
                </a:cxn>
                <a:cxn ang="0">
                  <a:pos x="16" y="125"/>
                </a:cxn>
                <a:cxn ang="0">
                  <a:pos x="16" y="130"/>
                </a:cxn>
              </a:cxnLst>
              <a:rect l="0" t="0" r="r" b="b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 rot="21439583">
              <a:off x="3372990" y="5323439"/>
              <a:ext cx="688076" cy="502351"/>
            </a:xfrm>
            <a:custGeom>
              <a:avLst/>
              <a:gdLst/>
              <a:ahLst/>
              <a:cxnLst>
                <a:cxn ang="0">
                  <a:pos x="29" y="66"/>
                </a:cxn>
                <a:cxn ang="0">
                  <a:pos x="37" y="64"/>
                </a:cxn>
                <a:cxn ang="0">
                  <a:pos x="37" y="58"/>
                </a:cxn>
                <a:cxn ang="0">
                  <a:pos x="41" y="56"/>
                </a:cxn>
                <a:cxn ang="0">
                  <a:pos x="41" y="45"/>
                </a:cxn>
                <a:cxn ang="0">
                  <a:pos x="57" y="42"/>
                </a:cxn>
                <a:cxn ang="0">
                  <a:pos x="62" y="38"/>
                </a:cxn>
                <a:cxn ang="0">
                  <a:pos x="74" y="38"/>
                </a:cxn>
                <a:cxn ang="0">
                  <a:pos x="82" y="31"/>
                </a:cxn>
                <a:cxn ang="0">
                  <a:pos x="86" y="22"/>
                </a:cxn>
                <a:cxn ang="0">
                  <a:pos x="94" y="20"/>
                </a:cxn>
                <a:cxn ang="0">
                  <a:pos x="97" y="14"/>
                </a:cxn>
                <a:cxn ang="0">
                  <a:pos x="96" y="7"/>
                </a:cxn>
                <a:cxn ang="0">
                  <a:pos x="102" y="1"/>
                </a:cxn>
                <a:cxn ang="0">
                  <a:pos x="112" y="2"/>
                </a:cxn>
                <a:cxn ang="0">
                  <a:pos x="114" y="8"/>
                </a:cxn>
                <a:cxn ang="0">
                  <a:pos x="119" y="13"/>
                </a:cxn>
                <a:cxn ang="0">
                  <a:pos x="123" y="20"/>
                </a:cxn>
                <a:cxn ang="0">
                  <a:pos x="118" y="28"/>
                </a:cxn>
                <a:cxn ang="0">
                  <a:pos x="111" y="33"/>
                </a:cxn>
                <a:cxn ang="0">
                  <a:pos x="115" y="40"/>
                </a:cxn>
                <a:cxn ang="0">
                  <a:pos x="116" y="48"/>
                </a:cxn>
                <a:cxn ang="0">
                  <a:pos x="112" y="55"/>
                </a:cxn>
                <a:cxn ang="0">
                  <a:pos x="104" y="54"/>
                </a:cxn>
                <a:cxn ang="0">
                  <a:pos x="104" y="60"/>
                </a:cxn>
                <a:cxn ang="0">
                  <a:pos x="96" y="64"/>
                </a:cxn>
                <a:cxn ang="0">
                  <a:pos x="88" y="70"/>
                </a:cxn>
                <a:cxn ang="0">
                  <a:pos x="82" y="72"/>
                </a:cxn>
                <a:cxn ang="0">
                  <a:pos x="79" y="79"/>
                </a:cxn>
                <a:cxn ang="0">
                  <a:pos x="71" y="80"/>
                </a:cxn>
                <a:cxn ang="0">
                  <a:pos x="69" y="86"/>
                </a:cxn>
                <a:cxn ang="0">
                  <a:pos x="61" y="86"/>
                </a:cxn>
                <a:cxn ang="0">
                  <a:pos x="61" y="92"/>
                </a:cxn>
                <a:cxn ang="0">
                  <a:pos x="52" y="87"/>
                </a:cxn>
                <a:cxn ang="0">
                  <a:pos x="45" y="94"/>
                </a:cxn>
                <a:cxn ang="0">
                  <a:pos x="39" y="98"/>
                </a:cxn>
                <a:cxn ang="0">
                  <a:pos x="31" y="98"/>
                </a:cxn>
                <a:cxn ang="0">
                  <a:pos x="30" y="104"/>
                </a:cxn>
                <a:cxn ang="0">
                  <a:pos x="14" y="104"/>
                </a:cxn>
                <a:cxn ang="0">
                  <a:pos x="5" y="104"/>
                </a:cxn>
                <a:cxn ang="0">
                  <a:pos x="7" y="102"/>
                </a:cxn>
                <a:cxn ang="0">
                  <a:pos x="4" y="96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4" y="90"/>
                </a:cxn>
                <a:cxn ang="0">
                  <a:pos x="15" y="80"/>
                </a:cxn>
                <a:cxn ang="0">
                  <a:pos x="21" y="72"/>
                </a:cxn>
                <a:cxn ang="0">
                  <a:pos x="28" y="68"/>
                </a:cxn>
                <a:cxn ang="0">
                  <a:pos x="29" y="66"/>
                </a:cxn>
              </a:cxnLst>
              <a:rect l="0" t="0" r="r" b="b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3" name="Freeform 24"/>
            <p:cNvSpPr>
              <a:spLocks noEditPoints="1"/>
            </p:cNvSpPr>
            <p:nvPr/>
          </p:nvSpPr>
          <p:spPr bwMode="auto">
            <a:xfrm rot="21439583">
              <a:off x="3976640" y="4919448"/>
              <a:ext cx="296033" cy="664125"/>
            </a:xfrm>
            <a:custGeom>
              <a:avLst/>
              <a:gdLst/>
              <a:ahLst/>
              <a:cxnLst>
                <a:cxn ang="0">
                  <a:pos x="45" y="7"/>
                </a:cxn>
                <a:cxn ang="0">
                  <a:pos x="49" y="13"/>
                </a:cxn>
                <a:cxn ang="0">
                  <a:pos x="51" y="21"/>
                </a:cxn>
                <a:cxn ang="0">
                  <a:pos x="52" y="30"/>
                </a:cxn>
                <a:cxn ang="0">
                  <a:pos x="45" y="33"/>
                </a:cxn>
                <a:cxn ang="0">
                  <a:pos x="38" y="43"/>
                </a:cxn>
                <a:cxn ang="0">
                  <a:pos x="35" y="53"/>
                </a:cxn>
                <a:cxn ang="0">
                  <a:pos x="37" y="64"/>
                </a:cxn>
                <a:cxn ang="0">
                  <a:pos x="43" y="74"/>
                </a:cxn>
                <a:cxn ang="0">
                  <a:pos x="45" y="84"/>
                </a:cxn>
                <a:cxn ang="0">
                  <a:pos x="39" y="97"/>
                </a:cxn>
                <a:cxn ang="0">
                  <a:pos x="33" y="105"/>
                </a:cxn>
                <a:cxn ang="0">
                  <a:pos x="28" y="113"/>
                </a:cxn>
                <a:cxn ang="0">
                  <a:pos x="38" y="124"/>
                </a:cxn>
                <a:cxn ang="0">
                  <a:pos x="38" y="139"/>
                </a:cxn>
                <a:cxn ang="0">
                  <a:pos x="35" y="139"/>
                </a:cxn>
                <a:cxn ang="0">
                  <a:pos x="29" y="139"/>
                </a:cxn>
                <a:cxn ang="0">
                  <a:pos x="24" y="136"/>
                </a:cxn>
                <a:cxn ang="0">
                  <a:pos x="25" y="124"/>
                </a:cxn>
                <a:cxn ang="0">
                  <a:pos x="16" y="122"/>
                </a:cxn>
                <a:cxn ang="0">
                  <a:pos x="5" y="124"/>
                </a:cxn>
                <a:cxn ang="0">
                  <a:pos x="5" y="122"/>
                </a:cxn>
                <a:cxn ang="0">
                  <a:pos x="1" y="115"/>
                </a:cxn>
                <a:cxn ang="0">
                  <a:pos x="8" y="110"/>
                </a:cxn>
                <a:cxn ang="0">
                  <a:pos x="13" y="102"/>
                </a:cxn>
                <a:cxn ang="0">
                  <a:pos x="9" y="95"/>
                </a:cxn>
                <a:cxn ang="0">
                  <a:pos x="4" y="90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4" y="83"/>
                </a:cxn>
                <a:cxn ang="0">
                  <a:pos x="3" y="71"/>
                </a:cxn>
                <a:cxn ang="0">
                  <a:pos x="4" y="64"/>
                </a:cxn>
                <a:cxn ang="0">
                  <a:pos x="7" y="57"/>
                </a:cxn>
                <a:cxn ang="0">
                  <a:pos x="8" y="41"/>
                </a:cxn>
                <a:cxn ang="0">
                  <a:pos x="13" y="38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6" y="2"/>
                </a:cxn>
                <a:cxn ang="0">
                  <a:pos x="22" y="2"/>
                </a:cxn>
                <a:cxn ang="0">
                  <a:pos x="26" y="11"/>
                </a:cxn>
                <a:cxn ang="0">
                  <a:pos x="38" y="10"/>
                </a:cxn>
                <a:cxn ang="0">
                  <a:pos x="45" y="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5" y="124"/>
                </a:cxn>
                <a:cxn ang="0">
                  <a:pos x="6" y="127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41"/>
                </a:cxn>
              </a:cxnLst>
              <a:rect l="0" t="0" r="r" b="b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lnTo>
                    <a:pt x="2" y="84"/>
                  </a:ln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4" name="Freeform 25"/>
            <p:cNvSpPr>
              <a:spLocks noEditPoints="1"/>
            </p:cNvSpPr>
            <p:nvPr/>
          </p:nvSpPr>
          <p:spPr bwMode="auto">
            <a:xfrm rot="21439583">
              <a:off x="4380244" y="5896375"/>
              <a:ext cx="786088" cy="556842"/>
            </a:xfrm>
            <a:custGeom>
              <a:avLst/>
              <a:gdLst/>
              <a:ahLst/>
              <a:cxnLst>
                <a:cxn ang="0">
                  <a:pos x="141" y="53"/>
                </a:cxn>
                <a:cxn ang="0">
                  <a:pos x="131" y="59"/>
                </a:cxn>
                <a:cxn ang="0">
                  <a:pos x="128" y="68"/>
                </a:cxn>
                <a:cxn ang="0">
                  <a:pos x="125" y="78"/>
                </a:cxn>
                <a:cxn ang="0">
                  <a:pos x="117" y="88"/>
                </a:cxn>
                <a:cxn ang="0">
                  <a:pos x="114" y="96"/>
                </a:cxn>
                <a:cxn ang="0">
                  <a:pos x="104" y="105"/>
                </a:cxn>
                <a:cxn ang="0">
                  <a:pos x="91" y="114"/>
                </a:cxn>
                <a:cxn ang="0">
                  <a:pos x="89" y="115"/>
                </a:cxn>
                <a:cxn ang="0">
                  <a:pos x="17" y="108"/>
                </a:cxn>
                <a:cxn ang="0">
                  <a:pos x="20" y="109"/>
                </a:cxn>
                <a:cxn ang="0">
                  <a:pos x="18" y="97"/>
                </a:cxn>
                <a:cxn ang="0">
                  <a:pos x="25" y="94"/>
                </a:cxn>
                <a:cxn ang="0">
                  <a:pos x="27" y="81"/>
                </a:cxn>
                <a:cxn ang="0">
                  <a:pos x="18" y="76"/>
                </a:cxn>
                <a:cxn ang="0">
                  <a:pos x="16" y="68"/>
                </a:cxn>
                <a:cxn ang="0">
                  <a:pos x="8" y="65"/>
                </a:cxn>
                <a:cxn ang="0">
                  <a:pos x="4" y="60"/>
                </a:cxn>
                <a:cxn ang="0">
                  <a:pos x="19" y="56"/>
                </a:cxn>
                <a:cxn ang="0">
                  <a:pos x="4" y="40"/>
                </a:cxn>
                <a:cxn ang="0">
                  <a:pos x="6" y="33"/>
                </a:cxn>
                <a:cxn ang="0">
                  <a:pos x="11" y="27"/>
                </a:cxn>
                <a:cxn ang="0">
                  <a:pos x="12" y="9"/>
                </a:cxn>
                <a:cxn ang="0">
                  <a:pos x="18" y="2"/>
                </a:cxn>
                <a:cxn ang="0">
                  <a:pos x="39" y="1"/>
                </a:cxn>
                <a:cxn ang="0">
                  <a:pos x="40" y="6"/>
                </a:cxn>
                <a:cxn ang="0">
                  <a:pos x="34" y="11"/>
                </a:cxn>
                <a:cxn ang="0">
                  <a:pos x="35" y="20"/>
                </a:cxn>
                <a:cxn ang="0">
                  <a:pos x="41" y="20"/>
                </a:cxn>
                <a:cxn ang="0">
                  <a:pos x="45" y="26"/>
                </a:cxn>
                <a:cxn ang="0">
                  <a:pos x="44" y="32"/>
                </a:cxn>
                <a:cxn ang="0">
                  <a:pos x="53" y="45"/>
                </a:cxn>
                <a:cxn ang="0">
                  <a:pos x="59" y="51"/>
                </a:cxn>
                <a:cxn ang="0">
                  <a:pos x="63" y="57"/>
                </a:cxn>
                <a:cxn ang="0">
                  <a:pos x="71" y="58"/>
                </a:cxn>
                <a:cxn ang="0">
                  <a:pos x="79" y="51"/>
                </a:cxn>
                <a:cxn ang="0">
                  <a:pos x="80" y="44"/>
                </a:cxn>
                <a:cxn ang="0">
                  <a:pos x="86" y="39"/>
                </a:cxn>
                <a:cxn ang="0">
                  <a:pos x="91" y="43"/>
                </a:cxn>
                <a:cxn ang="0">
                  <a:pos x="107" y="40"/>
                </a:cxn>
                <a:cxn ang="0">
                  <a:pos x="111" y="47"/>
                </a:cxn>
                <a:cxn ang="0">
                  <a:pos x="118" y="56"/>
                </a:cxn>
                <a:cxn ang="0">
                  <a:pos x="128" y="53"/>
                </a:cxn>
                <a:cxn ang="0">
                  <a:pos x="141" y="53"/>
                </a:cxn>
                <a:cxn ang="0">
                  <a:pos x="1" y="62"/>
                </a:cxn>
                <a:cxn ang="0">
                  <a:pos x="1" y="62"/>
                </a:cxn>
              </a:cxnLst>
              <a:rect l="0" t="0" r="r" b="b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5" name="Freeform 26"/>
            <p:cNvSpPr>
              <a:spLocks noEditPoints="1"/>
            </p:cNvSpPr>
            <p:nvPr/>
          </p:nvSpPr>
          <p:spPr bwMode="auto">
            <a:xfrm rot="21439583">
              <a:off x="4440373" y="3717130"/>
              <a:ext cx="854096" cy="1064302"/>
            </a:xfrm>
            <a:custGeom>
              <a:avLst/>
              <a:gdLst/>
              <a:ahLst/>
              <a:cxnLst>
                <a:cxn ang="0">
                  <a:pos x="151" y="126"/>
                </a:cxn>
                <a:cxn ang="0">
                  <a:pos x="149" y="137"/>
                </a:cxn>
                <a:cxn ang="0">
                  <a:pos x="140" y="167"/>
                </a:cxn>
                <a:cxn ang="0">
                  <a:pos x="136" y="192"/>
                </a:cxn>
                <a:cxn ang="0">
                  <a:pos x="128" y="209"/>
                </a:cxn>
                <a:cxn ang="0">
                  <a:pos x="95" y="211"/>
                </a:cxn>
                <a:cxn ang="0">
                  <a:pos x="78" y="220"/>
                </a:cxn>
                <a:cxn ang="0">
                  <a:pos x="65" y="215"/>
                </a:cxn>
                <a:cxn ang="0">
                  <a:pos x="55" y="219"/>
                </a:cxn>
                <a:cxn ang="0">
                  <a:pos x="41" y="216"/>
                </a:cxn>
                <a:cxn ang="0">
                  <a:pos x="41" y="201"/>
                </a:cxn>
                <a:cxn ang="0">
                  <a:pos x="39" y="184"/>
                </a:cxn>
                <a:cxn ang="0">
                  <a:pos x="37" y="170"/>
                </a:cxn>
                <a:cxn ang="0">
                  <a:pos x="27" y="153"/>
                </a:cxn>
                <a:cxn ang="0">
                  <a:pos x="26" y="129"/>
                </a:cxn>
                <a:cxn ang="0">
                  <a:pos x="17" y="111"/>
                </a:cxn>
                <a:cxn ang="0">
                  <a:pos x="18" y="89"/>
                </a:cxn>
                <a:cxn ang="0">
                  <a:pos x="14" y="7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19" y="50"/>
                </a:cxn>
                <a:cxn ang="0">
                  <a:pos x="32" y="32"/>
                </a:cxn>
                <a:cxn ang="0">
                  <a:pos x="33" y="41"/>
                </a:cxn>
                <a:cxn ang="0">
                  <a:pos x="48" y="51"/>
                </a:cxn>
                <a:cxn ang="0">
                  <a:pos x="63" y="51"/>
                </a:cxn>
                <a:cxn ang="0">
                  <a:pos x="72" y="18"/>
                </a:cxn>
                <a:cxn ang="0">
                  <a:pos x="94" y="11"/>
                </a:cxn>
                <a:cxn ang="0">
                  <a:pos x="124" y="3"/>
                </a:cxn>
                <a:cxn ang="0">
                  <a:pos x="130" y="3"/>
                </a:cxn>
                <a:cxn ang="0">
                  <a:pos x="143" y="30"/>
                </a:cxn>
                <a:cxn ang="0">
                  <a:pos x="146" y="48"/>
                </a:cxn>
                <a:cxn ang="0">
                  <a:pos x="137" y="59"/>
                </a:cxn>
                <a:cxn ang="0">
                  <a:pos x="140" y="84"/>
                </a:cxn>
                <a:cxn ang="0">
                  <a:pos x="134" y="101"/>
                </a:cxn>
                <a:cxn ang="0">
                  <a:pos x="133" y="123"/>
                </a:cxn>
                <a:cxn ang="0">
                  <a:pos x="130" y="3"/>
                </a:cxn>
                <a:cxn ang="0">
                  <a:pos x="130" y="3"/>
                </a:cxn>
                <a:cxn ang="0">
                  <a:pos x="130" y="1"/>
                </a:cxn>
                <a:cxn ang="0">
                  <a:pos x="130" y="1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28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2" y="46"/>
                </a:cxn>
              </a:cxnLst>
              <a:rect l="0" t="0" r="r" b="b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lnTo>
                    <a:pt x="41" y="216"/>
                  </a:ln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lnTo>
                    <a:pt x="8" y="48"/>
                  </a:ln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lnTo>
                    <a:pt x="130" y="3"/>
                  </a:ln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6" name="Freeform 27"/>
            <p:cNvSpPr>
              <a:spLocks noEditPoints="1"/>
            </p:cNvSpPr>
            <p:nvPr/>
          </p:nvSpPr>
          <p:spPr bwMode="auto">
            <a:xfrm rot="21439583">
              <a:off x="4121880" y="4514989"/>
              <a:ext cx="620069" cy="1168178"/>
            </a:xfrm>
            <a:custGeom>
              <a:avLst/>
              <a:gdLst/>
              <a:ahLst/>
              <a:cxnLst>
                <a:cxn ang="0">
                  <a:pos x="29" y="37"/>
                </a:cxn>
                <a:cxn ang="0">
                  <a:pos x="29" y="57"/>
                </a:cxn>
                <a:cxn ang="0">
                  <a:pos x="29" y="84"/>
                </a:cxn>
                <a:cxn ang="0">
                  <a:pos x="22" y="95"/>
                </a:cxn>
                <a:cxn ang="0">
                  <a:pos x="25" y="112"/>
                </a:cxn>
                <a:cxn ang="0">
                  <a:pos x="11" y="125"/>
                </a:cxn>
                <a:cxn ang="0">
                  <a:pos x="10" y="146"/>
                </a:cxn>
                <a:cxn ang="0">
                  <a:pos x="18" y="166"/>
                </a:cxn>
                <a:cxn ang="0">
                  <a:pos x="6" y="187"/>
                </a:cxn>
                <a:cxn ang="0">
                  <a:pos x="11" y="206"/>
                </a:cxn>
                <a:cxn ang="0">
                  <a:pos x="17" y="223"/>
                </a:cxn>
                <a:cxn ang="0">
                  <a:pos x="21" y="239"/>
                </a:cxn>
                <a:cxn ang="0">
                  <a:pos x="30" y="236"/>
                </a:cxn>
                <a:cxn ang="0">
                  <a:pos x="45" y="226"/>
                </a:cxn>
                <a:cxn ang="0">
                  <a:pos x="60" y="215"/>
                </a:cxn>
                <a:cxn ang="0">
                  <a:pos x="69" y="204"/>
                </a:cxn>
                <a:cxn ang="0">
                  <a:pos x="68" y="195"/>
                </a:cxn>
                <a:cxn ang="0">
                  <a:pos x="57" y="176"/>
                </a:cxn>
                <a:cxn ang="0">
                  <a:pos x="60" y="153"/>
                </a:cxn>
                <a:cxn ang="0">
                  <a:pos x="58" y="127"/>
                </a:cxn>
                <a:cxn ang="0">
                  <a:pos x="76" y="116"/>
                </a:cxn>
                <a:cxn ang="0">
                  <a:pos x="76" y="100"/>
                </a:cxn>
                <a:cxn ang="0">
                  <a:pos x="95" y="96"/>
                </a:cxn>
                <a:cxn ang="0">
                  <a:pos x="109" y="85"/>
                </a:cxn>
                <a:cxn ang="0">
                  <a:pos x="109" y="58"/>
                </a:cxn>
                <a:cxn ang="0">
                  <a:pos x="102" y="47"/>
                </a:cxn>
                <a:cxn ang="0">
                  <a:pos x="92" y="39"/>
                </a:cxn>
                <a:cxn ang="0">
                  <a:pos x="89" y="30"/>
                </a:cxn>
                <a:cxn ang="0">
                  <a:pos x="81" y="13"/>
                </a:cxn>
                <a:cxn ang="0">
                  <a:pos x="72" y="18"/>
                </a:cxn>
                <a:cxn ang="0">
                  <a:pos x="50" y="21"/>
                </a:cxn>
                <a:cxn ang="0">
                  <a:pos x="34" y="1"/>
                </a:cxn>
                <a:cxn ang="0">
                  <a:pos x="18" y="8"/>
                </a:cxn>
                <a:cxn ang="0">
                  <a:pos x="11" y="221"/>
                </a:cxn>
              </a:cxnLst>
              <a:rect l="0" t="0" r="r" b="b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7" name="Freeform 29"/>
            <p:cNvSpPr>
              <a:spLocks noEditPoints="1"/>
            </p:cNvSpPr>
            <p:nvPr/>
          </p:nvSpPr>
          <p:spPr bwMode="auto">
            <a:xfrm rot="21439583">
              <a:off x="4791548" y="5206509"/>
              <a:ext cx="1122126" cy="941695"/>
            </a:xfrm>
            <a:custGeom>
              <a:avLst/>
              <a:gdLst/>
              <a:ahLst/>
              <a:cxnLst>
                <a:cxn ang="0">
                  <a:pos x="178" y="1"/>
                </a:cxn>
                <a:cxn ang="0">
                  <a:pos x="197" y="22"/>
                </a:cxn>
                <a:cxn ang="0">
                  <a:pos x="183" y="36"/>
                </a:cxn>
                <a:cxn ang="0">
                  <a:pos x="178" y="55"/>
                </a:cxn>
                <a:cxn ang="0">
                  <a:pos x="170" y="69"/>
                </a:cxn>
                <a:cxn ang="0">
                  <a:pos x="159" y="90"/>
                </a:cxn>
                <a:cxn ang="0">
                  <a:pos x="152" y="106"/>
                </a:cxn>
                <a:cxn ang="0">
                  <a:pos x="145" y="123"/>
                </a:cxn>
                <a:cxn ang="0">
                  <a:pos x="129" y="138"/>
                </a:cxn>
                <a:cxn ang="0">
                  <a:pos x="104" y="164"/>
                </a:cxn>
                <a:cxn ang="0">
                  <a:pos x="82" y="180"/>
                </a:cxn>
                <a:cxn ang="0">
                  <a:pos x="73" y="185"/>
                </a:cxn>
                <a:cxn ang="0">
                  <a:pos x="63" y="193"/>
                </a:cxn>
                <a:cxn ang="0">
                  <a:pos x="62" y="193"/>
                </a:cxn>
                <a:cxn ang="0">
                  <a:pos x="39" y="196"/>
                </a:cxn>
                <a:cxn ang="0">
                  <a:pos x="28" y="180"/>
                </a:cxn>
                <a:cxn ang="0">
                  <a:pos x="7" y="179"/>
                </a:cxn>
                <a:cxn ang="0">
                  <a:pos x="18" y="174"/>
                </a:cxn>
                <a:cxn ang="0">
                  <a:pos x="27" y="162"/>
                </a:cxn>
                <a:cxn ang="0">
                  <a:pos x="31" y="145"/>
                </a:cxn>
                <a:cxn ang="0">
                  <a:pos x="41" y="130"/>
                </a:cxn>
                <a:cxn ang="0">
                  <a:pos x="52" y="121"/>
                </a:cxn>
                <a:cxn ang="0">
                  <a:pos x="65" y="114"/>
                </a:cxn>
                <a:cxn ang="0">
                  <a:pos x="78" y="110"/>
                </a:cxn>
                <a:cxn ang="0">
                  <a:pos x="95" y="104"/>
                </a:cxn>
                <a:cxn ang="0">
                  <a:pos x="106" y="112"/>
                </a:cxn>
                <a:cxn ang="0">
                  <a:pos x="111" y="100"/>
                </a:cxn>
                <a:cxn ang="0">
                  <a:pos x="116" y="85"/>
                </a:cxn>
                <a:cxn ang="0">
                  <a:pos x="129" y="72"/>
                </a:cxn>
                <a:cxn ang="0">
                  <a:pos x="143" y="57"/>
                </a:cxn>
                <a:cxn ang="0">
                  <a:pos x="153" y="47"/>
                </a:cxn>
                <a:cxn ang="0">
                  <a:pos x="157" y="31"/>
                </a:cxn>
                <a:cxn ang="0">
                  <a:pos x="167" y="14"/>
                </a:cxn>
                <a:cxn ang="0">
                  <a:pos x="177" y="0"/>
                </a:cxn>
                <a:cxn ang="0">
                  <a:pos x="55" y="197"/>
                </a:cxn>
                <a:cxn ang="0">
                  <a:pos x="55" y="197"/>
                </a:cxn>
                <a:cxn ang="0">
                  <a:pos x="55" y="197"/>
                </a:cxn>
              </a:cxnLst>
              <a:rect l="0" t="0" r="r" b="b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8" name="Freeform 32"/>
            <p:cNvSpPr>
              <a:spLocks noEditPoints="1"/>
            </p:cNvSpPr>
            <p:nvPr/>
          </p:nvSpPr>
          <p:spPr bwMode="auto">
            <a:xfrm rot="21439583">
              <a:off x="3883639" y="5462975"/>
              <a:ext cx="1216136" cy="727131"/>
            </a:xfrm>
            <a:custGeom>
              <a:avLst/>
              <a:gdLst/>
              <a:ahLst/>
              <a:cxnLst>
                <a:cxn ang="0">
                  <a:pos x="97" y="121"/>
                </a:cxn>
                <a:cxn ang="0">
                  <a:pos x="104" y="96"/>
                </a:cxn>
                <a:cxn ang="0">
                  <a:pos x="126" y="100"/>
                </a:cxn>
                <a:cxn ang="0">
                  <a:pos x="121" y="114"/>
                </a:cxn>
                <a:cxn ang="0">
                  <a:pos x="131" y="120"/>
                </a:cxn>
                <a:cxn ang="0">
                  <a:pos x="139" y="139"/>
                </a:cxn>
                <a:cxn ang="0">
                  <a:pos x="149" y="151"/>
                </a:cxn>
                <a:cxn ang="0">
                  <a:pos x="165" y="145"/>
                </a:cxn>
                <a:cxn ang="0">
                  <a:pos x="175" y="130"/>
                </a:cxn>
                <a:cxn ang="0">
                  <a:pos x="185" y="121"/>
                </a:cxn>
                <a:cxn ang="0">
                  <a:pos x="196" y="104"/>
                </a:cxn>
                <a:cxn ang="0">
                  <a:pos x="202" y="96"/>
                </a:cxn>
                <a:cxn ang="0">
                  <a:pos x="216" y="83"/>
                </a:cxn>
                <a:cxn ang="0">
                  <a:pos x="209" y="70"/>
                </a:cxn>
                <a:cxn ang="0">
                  <a:pos x="205" y="60"/>
                </a:cxn>
                <a:cxn ang="0">
                  <a:pos x="196" y="63"/>
                </a:cxn>
                <a:cxn ang="0">
                  <a:pos x="198" y="50"/>
                </a:cxn>
                <a:cxn ang="0">
                  <a:pos x="189" y="43"/>
                </a:cxn>
                <a:cxn ang="0">
                  <a:pos x="190" y="53"/>
                </a:cxn>
                <a:cxn ang="0">
                  <a:pos x="184" y="63"/>
                </a:cxn>
                <a:cxn ang="0">
                  <a:pos x="170" y="56"/>
                </a:cxn>
                <a:cxn ang="0">
                  <a:pos x="157" y="63"/>
                </a:cxn>
                <a:cxn ang="0">
                  <a:pos x="142" y="53"/>
                </a:cxn>
                <a:cxn ang="0">
                  <a:pos x="125" y="38"/>
                </a:cxn>
                <a:cxn ang="0">
                  <a:pos x="117" y="3"/>
                </a:cxn>
                <a:cxn ang="0">
                  <a:pos x="108" y="14"/>
                </a:cxn>
                <a:cxn ang="0">
                  <a:pos x="93" y="25"/>
                </a:cxn>
                <a:cxn ang="0">
                  <a:pos x="78" y="35"/>
                </a:cxn>
                <a:cxn ang="0">
                  <a:pos x="69" y="38"/>
                </a:cxn>
                <a:cxn ang="0">
                  <a:pos x="65" y="22"/>
                </a:cxn>
                <a:cxn ang="0">
                  <a:pos x="50" y="20"/>
                </a:cxn>
                <a:cxn ang="0">
                  <a:pos x="46" y="5"/>
                </a:cxn>
                <a:cxn ang="0">
                  <a:pos x="26" y="5"/>
                </a:cxn>
                <a:cxn ang="0">
                  <a:pos x="23" y="18"/>
                </a:cxn>
                <a:cxn ang="0">
                  <a:pos x="15" y="18"/>
                </a:cxn>
                <a:cxn ang="0">
                  <a:pos x="26" y="27"/>
                </a:cxn>
                <a:cxn ang="0">
                  <a:pos x="24" y="35"/>
                </a:cxn>
                <a:cxn ang="0">
                  <a:pos x="33" y="40"/>
                </a:cxn>
                <a:cxn ang="0">
                  <a:pos x="32" y="54"/>
                </a:cxn>
                <a:cxn ang="0">
                  <a:pos x="25" y="64"/>
                </a:cxn>
                <a:cxn ang="0">
                  <a:pos x="16" y="67"/>
                </a:cxn>
                <a:cxn ang="0">
                  <a:pos x="5" y="77"/>
                </a:cxn>
                <a:cxn ang="0">
                  <a:pos x="23" y="93"/>
                </a:cxn>
                <a:cxn ang="0">
                  <a:pos x="40" y="83"/>
                </a:cxn>
                <a:cxn ang="0">
                  <a:pos x="53" y="76"/>
                </a:cxn>
                <a:cxn ang="0">
                  <a:pos x="70" y="67"/>
                </a:cxn>
                <a:cxn ang="0">
                  <a:pos x="67" y="78"/>
                </a:cxn>
                <a:cxn ang="0">
                  <a:pos x="77" y="99"/>
                </a:cxn>
                <a:cxn ang="0">
                  <a:pos x="85" y="115"/>
                </a:cxn>
                <a:cxn ang="0">
                  <a:pos x="91" y="123"/>
                </a:cxn>
                <a:cxn ang="0">
                  <a:pos x="70" y="99"/>
                </a:cxn>
                <a:cxn ang="0">
                  <a:pos x="70" y="99"/>
                </a:cxn>
                <a:cxn ang="0">
                  <a:pos x="70" y="99"/>
                </a:cxn>
              </a:cxnLst>
              <a:rect l="0" t="0" r="r" b="b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29" name="Freeform 39"/>
            <p:cNvSpPr>
              <a:spLocks/>
            </p:cNvSpPr>
            <p:nvPr/>
          </p:nvSpPr>
          <p:spPr bwMode="auto">
            <a:xfrm rot="21439583">
              <a:off x="2304712" y="3906331"/>
              <a:ext cx="814091" cy="1311220"/>
            </a:xfrm>
            <a:custGeom>
              <a:avLst/>
              <a:gdLst/>
              <a:ahLst/>
              <a:cxnLst>
                <a:cxn ang="0">
                  <a:pos x="4" y="241"/>
                </a:cxn>
                <a:cxn ang="0">
                  <a:pos x="4" y="232"/>
                </a:cxn>
                <a:cxn ang="0">
                  <a:pos x="9" y="217"/>
                </a:cxn>
                <a:cxn ang="0">
                  <a:pos x="21" y="213"/>
                </a:cxn>
                <a:cxn ang="0">
                  <a:pos x="19" y="193"/>
                </a:cxn>
                <a:cxn ang="0">
                  <a:pos x="15" y="176"/>
                </a:cxn>
                <a:cxn ang="0">
                  <a:pos x="31" y="167"/>
                </a:cxn>
                <a:cxn ang="0">
                  <a:pos x="37" y="152"/>
                </a:cxn>
                <a:cxn ang="0">
                  <a:pos x="45" y="143"/>
                </a:cxn>
                <a:cxn ang="0">
                  <a:pos x="56" y="148"/>
                </a:cxn>
                <a:cxn ang="0">
                  <a:pos x="64" y="137"/>
                </a:cxn>
                <a:cxn ang="0">
                  <a:pos x="72" y="124"/>
                </a:cxn>
                <a:cxn ang="0">
                  <a:pos x="80" y="116"/>
                </a:cxn>
                <a:cxn ang="0">
                  <a:pos x="79" y="98"/>
                </a:cxn>
                <a:cxn ang="0">
                  <a:pos x="71" y="87"/>
                </a:cxn>
                <a:cxn ang="0">
                  <a:pos x="65" y="79"/>
                </a:cxn>
                <a:cxn ang="0">
                  <a:pos x="75" y="73"/>
                </a:cxn>
                <a:cxn ang="0">
                  <a:pos x="60" y="63"/>
                </a:cxn>
                <a:cxn ang="0">
                  <a:pos x="77" y="40"/>
                </a:cxn>
                <a:cxn ang="0">
                  <a:pos x="90" y="18"/>
                </a:cxn>
                <a:cxn ang="0">
                  <a:pos x="101" y="1"/>
                </a:cxn>
                <a:cxn ang="0">
                  <a:pos x="121" y="5"/>
                </a:cxn>
                <a:cxn ang="0">
                  <a:pos x="138" y="12"/>
                </a:cxn>
                <a:cxn ang="0">
                  <a:pos x="145" y="26"/>
                </a:cxn>
                <a:cxn ang="0">
                  <a:pos x="139" y="53"/>
                </a:cxn>
                <a:cxn ang="0">
                  <a:pos x="135" y="70"/>
                </a:cxn>
                <a:cxn ang="0">
                  <a:pos x="126" y="85"/>
                </a:cxn>
                <a:cxn ang="0">
                  <a:pos x="123" y="104"/>
                </a:cxn>
                <a:cxn ang="0">
                  <a:pos x="120" y="127"/>
                </a:cxn>
                <a:cxn ang="0">
                  <a:pos x="122" y="144"/>
                </a:cxn>
                <a:cxn ang="0">
                  <a:pos x="126" y="160"/>
                </a:cxn>
                <a:cxn ang="0">
                  <a:pos x="126" y="171"/>
                </a:cxn>
                <a:cxn ang="0">
                  <a:pos x="116" y="173"/>
                </a:cxn>
                <a:cxn ang="0">
                  <a:pos x="107" y="175"/>
                </a:cxn>
                <a:cxn ang="0">
                  <a:pos x="94" y="194"/>
                </a:cxn>
                <a:cxn ang="0">
                  <a:pos x="84" y="203"/>
                </a:cxn>
                <a:cxn ang="0">
                  <a:pos x="94" y="217"/>
                </a:cxn>
                <a:cxn ang="0">
                  <a:pos x="98" y="238"/>
                </a:cxn>
                <a:cxn ang="0">
                  <a:pos x="86" y="243"/>
                </a:cxn>
                <a:cxn ang="0">
                  <a:pos x="70" y="232"/>
                </a:cxn>
                <a:cxn ang="0">
                  <a:pos x="75" y="250"/>
                </a:cxn>
                <a:cxn ang="0">
                  <a:pos x="82" y="272"/>
                </a:cxn>
                <a:cxn ang="0">
                  <a:pos x="68" y="270"/>
                </a:cxn>
                <a:cxn ang="0">
                  <a:pos x="56" y="273"/>
                </a:cxn>
                <a:cxn ang="0">
                  <a:pos x="54" y="257"/>
                </a:cxn>
                <a:cxn ang="0">
                  <a:pos x="36" y="255"/>
                </a:cxn>
                <a:cxn ang="0">
                  <a:pos x="26" y="247"/>
                </a:cxn>
                <a:cxn ang="0">
                  <a:pos x="15" y="240"/>
                </a:cxn>
              </a:cxnLst>
              <a:rect l="0" t="0" r="r" b="b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30" name="Freeform 11"/>
            <p:cNvSpPr>
              <a:spLocks/>
            </p:cNvSpPr>
            <p:nvPr/>
          </p:nvSpPr>
          <p:spPr bwMode="auto">
            <a:xfrm rot="21439583">
              <a:off x="4449147" y="1136389"/>
              <a:ext cx="1462164" cy="2828490"/>
            </a:xfrm>
            <a:custGeom>
              <a:avLst/>
              <a:gdLst/>
              <a:ahLst/>
              <a:cxnLst>
                <a:cxn ang="0">
                  <a:pos x="29" y="581"/>
                </a:cxn>
                <a:cxn ang="0">
                  <a:pos x="45" y="592"/>
                </a:cxn>
                <a:cxn ang="0">
                  <a:pos x="64" y="557"/>
                </a:cxn>
                <a:cxn ang="0">
                  <a:pos x="106" y="544"/>
                </a:cxn>
                <a:cxn ang="0">
                  <a:pos x="128" y="538"/>
                </a:cxn>
                <a:cxn ang="0">
                  <a:pos x="134" y="509"/>
                </a:cxn>
                <a:cxn ang="0">
                  <a:pos x="157" y="494"/>
                </a:cxn>
                <a:cxn ang="0">
                  <a:pos x="169" y="522"/>
                </a:cxn>
                <a:cxn ang="0">
                  <a:pos x="184" y="518"/>
                </a:cxn>
                <a:cxn ang="0">
                  <a:pos x="194" y="491"/>
                </a:cxn>
                <a:cxn ang="0">
                  <a:pos x="221" y="472"/>
                </a:cxn>
                <a:cxn ang="0">
                  <a:pos x="224" y="444"/>
                </a:cxn>
                <a:cxn ang="0">
                  <a:pos x="222" y="413"/>
                </a:cxn>
                <a:cxn ang="0">
                  <a:pos x="231" y="389"/>
                </a:cxn>
                <a:cxn ang="0">
                  <a:pos x="237" y="352"/>
                </a:cxn>
                <a:cxn ang="0">
                  <a:pos x="246" y="319"/>
                </a:cxn>
                <a:cxn ang="0">
                  <a:pos x="257" y="289"/>
                </a:cxn>
                <a:cxn ang="0">
                  <a:pos x="255" y="268"/>
                </a:cxn>
                <a:cxn ang="0">
                  <a:pos x="242" y="265"/>
                </a:cxn>
                <a:cxn ang="0">
                  <a:pos x="228" y="243"/>
                </a:cxn>
                <a:cxn ang="0">
                  <a:pos x="215" y="218"/>
                </a:cxn>
                <a:cxn ang="0">
                  <a:pos x="222" y="199"/>
                </a:cxn>
                <a:cxn ang="0">
                  <a:pos x="229" y="170"/>
                </a:cxn>
                <a:cxn ang="0">
                  <a:pos x="213" y="167"/>
                </a:cxn>
                <a:cxn ang="0">
                  <a:pos x="201" y="146"/>
                </a:cxn>
                <a:cxn ang="0">
                  <a:pos x="211" y="131"/>
                </a:cxn>
                <a:cxn ang="0">
                  <a:pos x="203" y="103"/>
                </a:cxn>
                <a:cxn ang="0">
                  <a:pos x="192" y="74"/>
                </a:cxn>
                <a:cxn ang="0">
                  <a:pos x="149" y="62"/>
                </a:cxn>
                <a:cxn ang="0">
                  <a:pos x="157" y="42"/>
                </a:cxn>
                <a:cxn ang="0">
                  <a:pos x="166" y="31"/>
                </a:cxn>
                <a:cxn ang="0">
                  <a:pos x="159" y="7"/>
                </a:cxn>
                <a:cxn ang="0">
                  <a:pos x="147" y="14"/>
                </a:cxn>
                <a:cxn ang="0">
                  <a:pos x="126" y="30"/>
                </a:cxn>
                <a:cxn ang="0">
                  <a:pos x="107" y="40"/>
                </a:cxn>
                <a:cxn ang="0">
                  <a:pos x="89" y="45"/>
                </a:cxn>
                <a:cxn ang="0">
                  <a:pos x="86" y="76"/>
                </a:cxn>
                <a:cxn ang="0">
                  <a:pos x="82" y="90"/>
                </a:cxn>
                <a:cxn ang="0">
                  <a:pos x="70" y="123"/>
                </a:cxn>
                <a:cxn ang="0">
                  <a:pos x="83" y="144"/>
                </a:cxn>
                <a:cxn ang="0">
                  <a:pos x="98" y="163"/>
                </a:cxn>
                <a:cxn ang="0">
                  <a:pos x="79" y="204"/>
                </a:cxn>
                <a:cxn ang="0">
                  <a:pos x="65" y="220"/>
                </a:cxn>
                <a:cxn ang="0">
                  <a:pos x="64" y="239"/>
                </a:cxn>
                <a:cxn ang="0">
                  <a:pos x="38" y="248"/>
                </a:cxn>
                <a:cxn ang="0">
                  <a:pos x="15" y="263"/>
                </a:cxn>
                <a:cxn ang="0">
                  <a:pos x="18" y="289"/>
                </a:cxn>
                <a:cxn ang="0">
                  <a:pos x="0" y="315"/>
                </a:cxn>
                <a:cxn ang="0">
                  <a:pos x="6" y="346"/>
                </a:cxn>
                <a:cxn ang="0">
                  <a:pos x="45" y="368"/>
                </a:cxn>
                <a:cxn ang="0">
                  <a:pos x="40" y="392"/>
                </a:cxn>
                <a:cxn ang="0">
                  <a:pos x="22" y="405"/>
                </a:cxn>
                <a:cxn ang="0">
                  <a:pos x="33" y="433"/>
                </a:cxn>
                <a:cxn ang="0">
                  <a:pos x="36" y="468"/>
                </a:cxn>
                <a:cxn ang="0">
                  <a:pos x="16" y="493"/>
                </a:cxn>
                <a:cxn ang="0">
                  <a:pos x="5" y="508"/>
                </a:cxn>
                <a:cxn ang="0">
                  <a:pos x="13" y="523"/>
                </a:cxn>
                <a:cxn ang="0">
                  <a:pos x="9" y="554"/>
                </a:cxn>
                <a:cxn ang="0">
                  <a:pos x="8" y="572"/>
                </a:cxn>
              </a:cxnLst>
              <a:rect l="0" t="0" r="r" b="b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31" name="Freeform 31"/>
            <p:cNvSpPr>
              <a:spLocks noEditPoints="1"/>
            </p:cNvSpPr>
            <p:nvPr/>
          </p:nvSpPr>
          <p:spPr bwMode="auto">
            <a:xfrm rot="21439583">
              <a:off x="4403944" y="4657553"/>
              <a:ext cx="832093" cy="926369"/>
            </a:xfrm>
            <a:custGeom>
              <a:avLst/>
              <a:gdLst/>
              <a:ahLst/>
              <a:cxnLst>
                <a:cxn ang="0">
                  <a:pos x="69" y="21"/>
                </a:cxn>
                <a:cxn ang="0">
                  <a:pos x="79" y="17"/>
                </a:cxn>
                <a:cxn ang="0">
                  <a:pos x="92" y="22"/>
                </a:cxn>
                <a:cxn ang="0">
                  <a:pos x="109" y="13"/>
                </a:cxn>
                <a:cxn ang="0">
                  <a:pos x="137" y="12"/>
                </a:cxn>
                <a:cxn ang="0">
                  <a:pos x="144" y="26"/>
                </a:cxn>
                <a:cxn ang="0">
                  <a:pos x="148" y="33"/>
                </a:cxn>
                <a:cxn ang="0">
                  <a:pos x="144" y="39"/>
                </a:cxn>
                <a:cxn ang="0">
                  <a:pos x="140" y="56"/>
                </a:cxn>
                <a:cxn ang="0">
                  <a:pos x="142" y="65"/>
                </a:cxn>
                <a:cxn ang="0">
                  <a:pos x="143" y="79"/>
                </a:cxn>
                <a:cxn ang="0">
                  <a:pos x="138" y="91"/>
                </a:cxn>
                <a:cxn ang="0">
                  <a:pos x="131" y="94"/>
                </a:cxn>
                <a:cxn ang="0">
                  <a:pos x="116" y="99"/>
                </a:cxn>
                <a:cxn ang="0">
                  <a:pos x="107" y="114"/>
                </a:cxn>
                <a:cxn ang="0">
                  <a:pos x="105" y="124"/>
                </a:cxn>
                <a:cxn ang="0">
                  <a:pos x="99" y="132"/>
                </a:cxn>
                <a:cxn ang="0">
                  <a:pos x="89" y="126"/>
                </a:cxn>
                <a:cxn ang="0">
                  <a:pos x="80" y="133"/>
                </a:cxn>
                <a:cxn ang="0">
                  <a:pos x="70" y="149"/>
                </a:cxn>
                <a:cxn ang="0">
                  <a:pos x="56" y="155"/>
                </a:cxn>
                <a:cxn ang="0">
                  <a:pos x="51" y="170"/>
                </a:cxn>
                <a:cxn ang="0">
                  <a:pos x="58" y="187"/>
                </a:cxn>
                <a:cxn ang="0">
                  <a:pos x="40" y="188"/>
                </a:cxn>
                <a:cxn ang="0">
                  <a:pos x="26" y="195"/>
                </a:cxn>
                <a:cxn ang="0">
                  <a:pos x="19" y="171"/>
                </a:cxn>
                <a:cxn ang="0">
                  <a:pos x="11" y="151"/>
                </a:cxn>
                <a:cxn ang="0">
                  <a:pos x="1" y="126"/>
                </a:cxn>
                <a:cxn ang="0">
                  <a:pos x="6" y="106"/>
                </a:cxn>
                <a:cxn ang="0">
                  <a:pos x="13" y="90"/>
                </a:cxn>
                <a:cxn ang="0">
                  <a:pos x="24" y="74"/>
                </a:cxn>
                <a:cxn ang="0">
                  <a:pos x="30" y="61"/>
                </a:cxn>
                <a:cxn ang="0">
                  <a:pos x="49" y="58"/>
                </a:cxn>
                <a:cxn ang="0">
                  <a:pos x="56" y="33"/>
                </a:cxn>
                <a:cxn ang="0">
                  <a:pos x="56" y="18"/>
                </a:cxn>
                <a:cxn ang="0">
                  <a:pos x="18" y="170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3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32" name="Freeform 30"/>
            <p:cNvSpPr>
              <a:spLocks/>
            </p:cNvSpPr>
            <p:nvPr/>
          </p:nvSpPr>
          <p:spPr bwMode="auto">
            <a:xfrm rot="21439583">
              <a:off x="5140641" y="3925140"/>
              <a:ext cx="888099" cy="1265243"/>
            </a:xfrm>
            <a:custGeom>
              <a:avLst/>
              <a:gdLst/>
              <a:ahLst/>
              <a:cxnLst>
                <a:cxn ang="0">
                  <a:pos x="151" y="77"/>
                </a:cxn>
                <a:cxn ang="0">
                  <a:pos x="130" y="81"/>
                </a:cxn>
                <a:cxn ang="0">
                  <a:pos x="115" y="86"/>
                </a:cxn>
                <a:cxn ang="0">
                  <a:pos x="99" y="93"/>
                </a:cxn>
                <a:cxn ang="0">
                  <a:pos x="94" y="107"/>
                </a:cxn>
                <a:cxn ang="0">
                  <a:pos x="101" y="125"/>
                </a:cxn>
                <a:cxn ang="0">
                  <a:pos x="114" y="135"/>
                </a:cxn>
                <a:cxn ang="0">
                  <a:pos x="110" y="154"/>
                </a:cxn>
                <a:cxn ang="0">
                  <a:pos x="103" y="175"/>
                </a:cxn>
                <a:cxn ang="0">
                  <a:pos x="102" y="206"/>
                </a:cxn>
                <a:cxn ang="0">
                  <a:pos x="108" y="231"/>
                </a:cxn>
                <a:cxn ang="0">
                  <a:pos x="108" y="243"/>
                </a:cxn>
                <a:cxn ang="0">
                  <a:pos x="107" y="266"/>
                </a:cxn>
                <a:cxn ang="0">
                  <a:pos x="94" y="257"/>
                </a:cxn>
                <a:cxn ang="0">
                  <a:pos x="82" y="239"/>
                </a:cxn>
                <a:cxn ang="0">
                  <a:pos x="68" y="239"/>
                </a:cxn>
                <a:cxn ang="0">
                  <a:pos x="58" y="244"/>
                </a:cxn>
                <a:cxn ang="0">
                  <a:pos x="45" y="237"/>
                </a:cxn>
                <a:cxn ang="0">
                  <a:pos x="36" y="244"/>
                </a:cxn>
                <a:cxn ang="0">
                  <a:pos x="19" y="246"/>
                </a:cxn>
                <a:cxn ang="0">
                  <a:pos x="4" y="244"/>
                </a:cxn>
                <a:cxn ang="0">
                  <a:pos x="1" y="229"/>
                </a:cxn>
                <a:cxn ang="0">
                  <a:pos x="8" y="220"/>
                </a:cxn>
                <a:cxn ang="0">
                  <a:pos x="1" y="209"/>
                </a:cxn>
                <a:cxn ang="0">
                  <a:pos x="7" y="199"/>
                </a:cxn>
                <a:cxn ang="0">
                  <a:pos x="11" y="185"/>
                </a:cxn>
                <a:cxn ang="0">
                  <a:pos x="7" y="179"/>
                </a:cxn>
                <a:cxn ang="0">
                  <a:pos x="5" y="166"/>
                </a:cxn>
                <a:cxn ang="0">
                  <a:pos x="5" y="159"/>
                </a:cxn>
                <a:cxn ang="0">
                  <a:pos x="13" y="142"/>
                </a:cxn>
                <a:cxn ang="0">
                  <a:pos x="17" y="117"/>
                </a:cxn>
                <a:cxn ang="0">
                  <a:pos x="26" y="87"/>
                </a:cxn>
                <a:cxn ang="0">
                  <a:pos x="28" y="76"/>
                </a:cxn>
                <a:cxn ang="0">
                  <a:pos x="23" y="71"/>
                </a:cxn>
                <a:cxn ang="0">
                  <a:pos x="47" y="53"/>
                </a:cxn>
                <a:cxn ang="0">
                  <a:pos x="61" y="46"/>
                </a:cxn>
                <a:cxn ang="0">
                  <a:pos x="76" y="14"/>
                </a:cxn>
                <a:cxn ang="0">
                  <a:pos x="103" y="11"/>
                </a:cxn>
                <a:cxn ang="0">
                  <a:pos x="112" y="46"/>
                </a:cxn>
                <a:cxn ang="0">
                  <a:pos x="130" y="51"/>
                </a:cxn>
                <a:cxn ang="0">
                  <a:pos x="156" y="63"/>
                </a:cxn>
              </a:cxnLst>
              <a:rect l="0" t="0" r="r" b="b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33" name="Freeform 28"/>
            <p:cNvSpPr>
              <a:spLocks noEditPoints="1"/>
            </p:cNvSpPr>
            <p:nvPr/>
          </p:nvSpPr>
          <p:spPr bwMode="auto">
            <a:xfrm rot="21439583">
              <a:off x="4551519" y="5058292"/>
              <a:ext cx="1228136" cy="732240"/>
            </a:xfrm>
            <a:custGeom>
              <a:avLst/>
              <a:gdLst/>
              <a:ahLst/>
              <a:cxnLst>
                <a:cxn ang="0">
                  <a:pos x="16" y="101"/>
                </a:cxn>
                <a:cxn ang="0">
                  <a:pos x="34" y="100"/>
                </a:cxn>
                <a:cxn ang="0">
                  <a:pos x="27" y="83"/>
                </a:cxn>
                <a:cxn ang="0">
                  <a:pos x="32" y="68"/>
                </a:cxn>
                <a:cxn ang="0">
                  <a:pos x="46" y="62"/>
                </a:cxn>
                <a:cxn ang="0">
                  <a:pos x="56" y="46"/>
                </a:cxn>
                <a:cxn ang="0">
                  <a:pos x="65" y="39"/>
                </a:cxn>
                <a:cxn ang="0">
                  <a:pos x="75" y="45"/>
                </a:cxn>
                <a:cxn ang="0">
                  <a:pos x="81" y="37"/>
                </a:cxn>
                <a:cxn ang="0">
                  <a:pos x="83" y="27"/>
                </a:cxn>
                <a:cxn ang="0">
                  <a:pos x="92" y="12"/>
                </a:cxn>
                <a:cxn ang="0">
                  <a:pos x="107" y="7"/>
                </a:cxn>
                <a:cxn ang="0">
                  <a:pos x="117" y="9"/>
                </a:cxn>
                <a:cxn ang="0">
                  <a:pos x="132" y="11"/>
                </a:cxn>
                <a:cxn ang="0">
                  <a:pos x="149" y="9"/>
                </a:cxn>
                <a:cxn ang="0">
                  <a:pos x="158" y="2"/>
                </a:cxn>
                <a:cxn ang="0">
                  <a:pos x="171" y="9"/>
                </a:cxn>
                <a:cxn ang="0">
                  <a:pos x="181" y="4"/>
                </a:cxn>
                <a:cxn ang="0">
                  <a:pos x="195" y="4"/>
                </a:cxn>
                <a:cxn ang="0">
                  <a:pos x="207" y="22"/>
                </a:cxn>
                <a:cxn ang="0">
                  <a:pos x="220" y="31"/>
                </a:cxn>
                <a:cxn ang="0">
                  <a:pos x="211" y="37"/>
                </a:cxn>
                <a:cxn ang="0">
                  <a:pos x="208" y="59"/>
                </a:cxn>
                <a:cxn ang="0">
                  <a:pos x="199" y="77"/>
                </a:cxn>
                <a:cxn ang="0">
                  <a:pos x="192" y="89"/>
                </a:cxn>
                <a:cxn ang="0">
                  <a:pos x="180" y="98"/>
                </a:cxn>
                <a:cxn ang="0">
                  <a:pos x="163" y="110"/>
                </a:cxn>
                <a:cxn ang="0">
                  <a:pos x="157" y="133"/>
                </a:cxn>
                <a:cxn ang="0">
                  <a:pos x="148" y="137"/>
                </a:cxn>
                <a:cxn ang="0">
                  <a:pos x="140" y="143"/>
                </a:cxn>
                <a:cxn ang="0">
                  <a:pos x="130" y="136"/>
                </a:cxn>
                <a:cxn ang="0">
                  <a:pos x="114" y="149"/>
                </a:cxn>
                <a:cxn ang="0">
                  <a:pos x="101" y="154"/>
                </a:cxn>
                <a:cxn ang="0">
                  <a:pos x="85" y="149"/>
                </a:cxn>
                <a:cxn ang="0">
                  <a:pos x="81" y="139"/>
                </a:cxn>
                <a:cxn ang="0">
                  <a:pos x="72" y="142"/>
                </a:cxn>
                <a:cxn ang="0">
                  <a:pos x="74" y="129"/>
                </a:cxn>
                <a:cxn ang="0">
                  <a:pos x="65" y="122"/>
                </a:cxn>
                <a:cxn ang="0">
                  <a:pos x="66" y="132"/>
                </a:cxn>
                <a:cxn ang="0">
                  <a:pos x="60" y="142"/>
                </a:cxn>
                <a:cxn ang="0">
                  <a:pos x="46" y="135"/>
                </a:cxn>
                <a:cxn ang="0">
                  <a:pos x="33" y="142"/>
                </a:cxn>
                <a:cxn ang="0">
                  <a:pos x="18" y="132"/>
                </a:cxn>
                <a:cxn ang="0">
                  <a:pos x="1" y="117"/>
                </a:cxn>
                <a:cxn ang="0">
                  <a:pos x="114" y="4"/>
                </a:cxn>
                <a:cxn ang="0">
                  <a:pos x="114" y="4"/>
                </a:cxn>
                <a:cxn ang="0">
                  <a:pos x="114" y="5"/>
                </a:cxn>
              </a:cxnLst>
              <a:rect l="0" t="0" r="r" b="b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34" name="Freeform 17"/>
            <p:cNvSpPr>
              <a:spLocks/>
            </p:cNvSpPr>
            <p:nvPr/>
          </p:nvSpPr>
          <p:spPr bwMode="auto">
            <a:xfrm rot="21439583">
              <a:off x="4205241" y="6107695"/>
              <a:ext cx="292032" cy="146448"/>
            </a:xfrm>
            <a:custGeom>
              <a:avLst/>
              <a:gdLst/>
              <a:ahLst/>
              <a:cxnLst>
                <a:cxn ang="0">
                  <a:pos x="20" y="31"/>
                </a:cxn>
                <a:cxn ang="0">
                  <a:pos x="27" y="28"/>
                </a:cxn>
                <a:cxn ang="0">
                  <a:pos x="34" y="21"/>
                </a:cxn>
                <a:cxn ang="0">
                  <a:pos x="51" y="16"/>
                </a:cxn>
                <a:cxn ang="0">
                  <a:pos x="36" y="0"/>
                </a:cxn>
                <a:cxn ang="0">
                  <a:pos x="30" y="10"/>
                </a:cxn>
                <a:cxn ang="0">
                  <a:pos x="23" y="12"/>
                </a:cxn>
                <a:cxn ang="0">
                  <a:pos x="14" y="15"/>
                </a:cxn>
                <a:cxn ang="0">
                  <a:pos x="5" y="19"/>
                </a:cxn>
                <a:cxn ang="0">
                  <a:pos x="3" y="25"/>
                </a:cxn>
                <a:cxn ang="0">
                  <a:pos x="20" y="25"/>
                </a:cxn>
                <a:cxn ang="0">
                  <a:pos x="20" y="31"/>
                </a:cxn>
              </a:cxnLst>
              <a:rect l="0" t="0" r="r" b="b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35" name="Freeform 22"/>
            <p:cNvSpPr>
              <a:spLocks/>
            </p:cNvSpPr>
            <p:nvPr/>
          </p:nvSpPr>
          <p:spPr bwMode="auto">
            <a:xfrm rot="21439583">
              <a:off x="4012980" y="3893632"/>
              <a:ext cx="682076" cy="88379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95" y="46"/>
                </a:cxn>
                <a:cxn ang="0">
                  <a:pos x="93" y="68"/>
                </a:cxn>
                <a:cxn ang="0">
                  <a:pos x="96" y="88"/>
                </a:cxn>
                <a:cxn ang="0">
                  <a:pos x="107" y="108"/>
                </a:cxn>
                <a:cxn ang="0">
                  <a:pos x="111" y="130"/>
                </a:cxn>
                <a:cxn ang="0">
                  <a:pos x="112" y="146"/>
                </a:cxn>
                <a:cxn ang="0">
                  <a:pos x="115" y="162"/>
                </a:cxn>
                <a:cxn ang="0">
                  <a:pos x="120" y="183"/>
                </a:cxn>
                <a:cxn ang="0">
                  <a:pos x="104" y="178"/>
                </a:cxn>
                <a:cxn ang="0">
                  <a:pos x="109" y="165"/>
                </a:cxn>
                <a:cxn ang="0">
                  <a:pos x="97" y="155"/>
                </a:cxn>
                <a:cxn ang="0">
                  <a:pos x="88" y="145"/>
                </a:cxn>
                <a:cxn ang="0">
                  <a:pos x="77" y="153"/>
                </a:cxn>
                <a:cxn ang="0">
                  <a:pos x="49" y="139"/>
                </a:cxn>
                <a:cxn ang="0">
                  <a:pos x="37" y="133"/>
                </a:cxn>
                <a:cxn ang="0">
                  <a:pos x="27" y="148"/>
                </a:cxn>
                <a:cxn ang="0">
                  <a:pos x="7" y="147"/>
                </a:cxn>
                <a:cxn ang="0">
                  <a:pos x="10" y="115"/>
                </a:cxn>
                <a:cxn ang="0">
                  <a:pos x="2" y="101"/>
                </a:cxn>
                <a:cxn ang="0">
                  <a:pos x="3" y="82"/>
                </a:cxn>
                <a:cxn ang="0">
                  <a:pos x="9" y="70"/>
                </a:cxn>
                <a:cxn ang="0">
                  <a:pos x="9" y="54"/>
                </a:cxn>
                <a:cxn ang="0">
                  <a:pos x="11" y="44"/>
                </a:cxn>
                <a:cxn ang="0">
                  <a:pos x="1" y="31"/>
                </a:cxn>
                <a:cxn ang="0">
                  <a:pos x="6" y="17"/>
                </a:cxn>
                <a:cxn ang="0">
                  <a:pos x="16" y="26"/>
                </a:cxn>
                <a:cxn ang="0">
                  <a:pos x="27" y="40"/>
                </a:cxn>
                <a:cxn ang="0">
                  <a:pos x="39" y="28"/>
                </a:cxn>
                <a:cxn ang="0">
                  <a:pos x="53" y="16"/>
                </a:cxn>
                <a:cxn ang="0">
                  <a:pos x="64" y="3"/>
                </a:cxn>
                <a:cxn ang="0">
                  <a:pos x="78" y="13"/>
                </a:cxn>
              </a:cxnLst>
              <a:rect l="0" t="0" r="r" b="b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36" name="Freeform 10"/>
            <p:cNvSpPr>
              <a:spLocks noEditPoints="1"/>
            </p:cNvSpPr>
            <p:nvPr/>
          </p:nvSpPr>
          <p:spPr bwMode="auto">
            <a:xfrm rot="21439583">
              <a:off x="3442545" y="3294429"/>
              <a:ext cx="1168131" cy="1103469"/>
            </a:xfrm>
            <a:custGeom>
              <a:avLst/>
              <a:gdLst/>
              <a:ahLst/>
              <a:cxnLst>
                <a:cxn ang="0">
                  <a:pos x="194" y="133"/>
                </a:cxn>
                <a:cxn ang="0">
                  <a:pos x="187" y="148"/>
                </a:cxn>
                <a:cxn ang="0">
                  <a:pos x="175" y="142"/>
                </a:cxn>
                <a:cxn ang="0">
                  <a:pos x="161" y="132"/>
                </a:cxn>
                <a:cxn ang="0">
                  <a:pos x="150" y="145"/>
                </a:cxn>
                <a:cxn ang="0">
                  <a:pos x="136" y="157"/>
                </a:cxn>
                <a:cxn ang="0">
                  <a:pos x="124" y="169"/>
                </a:cxn>
                <a:cxn ang="0">
                  <a:pos x="113" y="155"/>
                </a:cxn>
                <a:cxn ang="0">
                  <a:pos x="103" y="146"/>
                </a:cxn>
                <a:cxn ang="0">
                  <a:pos x="98" y="160"/>
                </a:cxn>
                <a:cxn ang="0">
                  <a:pos x="108" y="173"/>
                </a:cxn>
                <a:cxn ang="0">
                  <a:pos x="106" y="183"/>
                </a:cxn>
                <a:cxn ang="0">
                  <a:pos x="106" y="199"/>
                </a:cxn>
                <a:cxn ang="0">
                  <a:pos x="100" y="211"/>
                </a:cxn>
                <a:cxn ang="0">
                  <a:pos x="80" y="227"/>
                </a:cxn>
                <a:cxn ang="0">
                  <a:pos x="57" y="214"/>
                </a:cxn>
                <a:cxn ang="0">
                  <a:pos x="38" y="216"/>
                </a:cxn>
                <a:cxn ang="0">
                  <a:pos x="14" y="212"/>
                </a:cxn>
                <a:cxn ang="0">
                  <a:pos x="2" y="210"/>
                </a:cxn>
                <a:cxn ang="0">
                  <a:pos x="14" y="192"/>
                </a:cxn>
                <a:cxn ang="0">
                  <a:pos x="11" y="176"/>
                </a:cxn>
                <a:cxn ang="0">
                  <a:pos x="15" y="163"/>
                </a:cxn>
                <a:cxn ang="0">
                  <a:pos x="25" y="160"/>
                </a:cxn>
                <a:cxn ang="0">
                  <a:pos x="20" y="148"/>
                </a:cxn>
                <a:cxn ang="0">
                  <a:pos x="27" y="122"/>
                </a:cxn>
                <a:cxn ang="0">
                  <a:pos x="35" y="101"/>
                </a:cxn>
                <a:cxn ang="0">
                  <a:pos x="53" y="93"/>
                </a:cxn>
                <a:cxn ang="0">
                  <a:pos x="67" y="75"/>
                </a:cxn>
                <a:cxn ang="0">
                  <a:pos x="83" y="71"/>
                </a:cxn>
                <a:cxn ang="0">
                  <a:pos x="95" y="58"/>
                </a:cxn>
                <a:cxn ang="0">
                  <a:pos x="106" y="49"/>
                </a:cxn>
                <a:cxn ang="0">
                  <a:pos x="97" y="30"/>
                </a:cxn>
                <a:cxn ang="0">
                  <a:pos x="103" y="12"/>
                </a:cxn>
                <a:cxn ang="0">
                  <a:pos x="122" y="2"/>
                </a:cxn>
                <a:cxn ang="0">
                  <a:pos x="130" y="6"/>
                </a:cxn>
                <a:cxn ang="0">
                  <a:pos x="139" y="22"/>
                </a:cxn>
                <a:cxn ang="0">
                  <a:pos x="148" y="31"/>
                </a:cxn>
                <a:cxn ang="0">
                  <a:pos x="165" y="40"/>
                </a:cxn>
                <a:cxn ang="0">
                  <a:pos x="170" y="51"/>
                </a:cxn>
                <a:cxn ang="0">
                  <a:pos x="188" y="52"/>
                </a:cxn>
                <a:cxn ang="0">
                  <a:pos x="196" y="65"/>
                </a:cxn>
                <a:cxn ang="0">
                  <a:pos x="198" y="73"/>
                </a:cxn>
                <a:cxn ang="0">
                  <a:pos x="208" y="85"/>
                </a:cxn>
                <a:cxn ang="0">
                  <a:pos x="202" y="110"/>
                </a:cxn>
                <a:cxn ang="0">
                  <a:pos x="201" y="122"/>
                </a:cxn>
                <a:cxn ang="0">
                  <a:pos x="207" y="129"/>
                </a:cxn>
                <a:cxn ang="0">
                  <a:pos x="197" y="65"/>
                </a:cxn>
                <a:cxn ang="0">
                  <a:pos x="197" y="65"/>
                </a:cxn>
                <a:cxn ang="0">
                  <a:pos x="197" y="65"/>
                </a:cxn>
              </a:cxnLst>
              <a:rect l="0" t="0" r="r" b="b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7" name="Freeform 23"/>
            <p:cNvSpPr>
              <a:spLocks noEditPoints="1"/>
            </p:cNvSpPr>
            <p:nvPr/>
          </p:nvSpPr>
          <p:spPr bwMode="auto">
            <a:xfrm rot="21439583">
              <a:off x="3245095" y="4307373"/>
              <a:ext cx="1026113" cy="822492"/>
            </a:xfrm>
            <a:custGeom>
              <a:avLst/>
              <a:gdLst/>
              <a:ahLst/>
              <a:cxnLst>
                <a:cxn ang="0">
                  <a:pos x="151" y="33"/>
                </a:cxn>
                <a:cxn ang="0">
                  <a:pos x="157" y="70"/>
                </a:cxn>
                <a:cxn ang="0">
                  <a:pos x="182" y="86"/>
                </a:cxn>
                <a:cxn ang="0">
                  <a:pos x="182" y="120"/>
                </a:cxn>
                <a:cxn ang="0">
                  <a:pos x="152" y="142"/>
                </a:cxn>
                <a:cxn ang="0">
                  <a:pos x="144" y="144"/>
                </a:cxn>
                <a:cxn ang="0">
                  <a:pos x="132" y="171"/>
                </a:cxn>
                <a:cxn ang="0">
                  <a:pos x="111" y="150"/>
                </a:cxn>
                <a:cxn ang="0">
                  <a:pos x="82" y="160"/>
                </a:cxn>
                <a:cxn ang="0">
                  <a:pos x="61" y="164"/>
                </a:cxn>
                <a:cxn ang="0">
                  <a:pos x="4" y="157"/>
                </a:cxn>
                <a:cxn ang="0">
                  <a:pos x="16" y="132"/>
                </a:cxn>
                <a:cxn ang="0">
                  <a:pos x="19" y="102"/>
                </a:cxn>
                <a:cxn ang="0">
                  <a:pos x="47" y="93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9" y="55"/>
                </a:cxn>
                <a:cxn ang="0">
                  <a:pos x="34" y="46"/>
                </a:cxn>
                <a:cxn ang="0">
                  <a:pos x="22" y="17"/>
                </a:cxn>
                <a:cxn ang="0">
                  <a:pos x="46" y="2"/>
                </a:cxn>
                <a:cxn ang="0">
                  <a:pos x="58" y="1"/>
                </a:cxn>
                <a:cxn ang="0">
                  <a:pos x="91" y="0"/>
                </a:cxn>
                <a:cxn ang="0">
                  <a:pos x="124" y="16"/>
                </a:cxn>
                <a:cxn ang="0">
                  <a:pos x="1" y="112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</a:cxnLst>
              <a:rect l="0" t="0" r="r" b="b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lnTo>
                    <a:pt x="46" y="2"/>
                  </a:ln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4" name="Параллелограмм 3"/>
          <p:cNvSpPr/>
          <p:nvPr/>
        </p:nvSpPr>
        <p:spPr>
          <a:xfrm>
            <a:off x="5219700" y="138113"/>
            <a:ext cx="3924300" cy="288925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Параллелограмм 4"/>
          <p:cNvSpPr/>
          <p:nvPr/>
        </p:nvSpPr>
        <p:spPr>
          <a:xfrm>
            <a:off x="1368425" y="138113"/>
            <a:ext cx="3924300" cy="288925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287" name="TextBox 58"/>
          <p:cNvSpPr txBox="1">
            <a:spLocks noChangeArrowheads="1"/>
          </p:cNvSpPr>
          <p:nvPr/>
        </p:nvSpPr>
        <p:spPr bwMode="auto">
          <a:xfrm>
            <a:off x="5724525" y="6165850"/>
            <a:ext cx="8429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100" b="1">
                <a:solidFill>
                  <a:schemeClr val="bg1"/>
                </a:solidFill>
              </a:rPr>
              <a:t>922 636</a:t>
            </a:r>
          </a:p>
        </p:txBody>
      </p:sp>
      <p:sp>
        <p:nvSpPr>
          <p:cNvPr id="61" name="Rectangle 3"/>
          <p:cNvSpPr txBox="1">
            <a:spLocks/>
          </p:cNvSpPr>
          <p:nvPr/>
        </p:nvSpPr>
        <p:spPr bwMode="auto">
          <a:xfrm>
            <a:off x="266786" y="1628800"/>
            <a:ext cx="8877822" cy="27989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0"/>
          <a:lstStyle/>
          <a:p>
            <a:pPr algn="ctr"/>
            <a:r>
              <a:rPr lang="ru-RU" sz="2800" b="1" cap="all" dirty="0">
                <a:solidFill>
                  <a:srgbClr val="2A4B86"/>
                </a:solidFill>
                <a:latin typeface="Cambria" pitchFamily="18" charset="0"/>
              </a:rPr>
              <a:t>Доклад</a:t>
            </a:r>
          </a:p>
          <a:p>
            <a:pPr algn="ctr"/>
            <a:r>
              <a:rPr lang="ru-RU" sz="2800" b="1" cap="all" dirty="0">
                <a:solidFill>
                  <a:srgbClr val="2A4B86"/>
                </a:solidFill>
                <a:latin typeface="Cambria" pitchFamily="18" charset="0"/>
              </a:rPr>
              <a:t>«О реализации Комплексного плана мероприятий по обеспечению поэтапного доступа  </a:t>
            </a:r>
            <a:r>
              <a:rPr lang="ru-RU" sz="2800" b="1" cap="all" dirty="0" err="1">
                <a:solidFill>
                  <a:srgbClr val="2A4B86"/>
                </a:solidFill>
                <a:latin typeface="Cambria" pitchFamily="18" charset="0"/>
              </a:rPr>
              <a:t>сонко</a:t>
            </a:r>
            <a:r>
              <a:rPr lang="ru-RU" sz="2800" b="1" cap="all" dirty="0">
                <a:solidFill>
                  <a:srgbClr val="2A4B86"/>
                </a:solidFill>
                <a:latin typeface="Cambria" pitchFamily="18" charset="0"/>
              </a:rPr>
              <a:t>, осуществляющих деятельность в социальной сфере,</a:t>
            </a:r>
          </a:p>
          <a:p>
            <a:pPr algn="ctr"/>
            <a:r>
              <a:rPr lang="ru-RU" sz="2800" b="1" cap="all" dirty="0">
                <a:solidFill>
                  <a:srgbClr val="2A4B86"/>
                </a:solidFill>
                <a:latin typeface="Cambria" pitchFamily="18" charset="0"/>
              </a:rPr>
              <a:t>к бюджетным средствам»</a:t>
            </a:r>
          </a:p>
        </p:txBody>
      </p:sp>
      <p:sp>
        <p:nvSpPr>
          <p:cNvPr id="62" name="Параллелограмм 61"/>
          <p:cNvSpPr/>
          <p:nvPr/>
        </p:nvSpPr>
        <p:spPr>
          <a:xfrm>
            <a:off x="5184204" y="6524451"/>
            <a:ext cx="3924300" cy="288925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3" name="Параллелограмм 62"/>
          <p:cNvSpPr/>
          <p:nvPr/>
        </p:nvSpPr>
        <p:spPr>
          <a:xfrm>
            <a:off x="1332929" y="6524451"/>
            <a:ext cx="3924300" cy="288925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8" name="Text Box 3"/>
          <p:cNvSpPr txBox="1">
            <a:spLocks noChangeArrowheads="1"/>
          </p:cNvSpPr>
          <p:nvPr/>
        </p:nvSpPr>
        <p:spPr bwMode="auto">
          <a:xfrm>
            <a:off x="365919" y="6002124"/>
            <a:ext cx="81534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ctr"/>
            <a:r>
              <a:rPr lang="ru-RU" sz="1400" dirty="0" smtClean="0">
                <a:latin typeface="Arial Black" panose="020B0A04020102020204" pitchFamily="34" charset="0"/>
              </a:rPr>
              <a:t>г. Иркутск</a:t>
            </a:r>
          </a:p>
          <a:p>
            <a:pPr algn="ctr"/>
            <a:r>
              <a:rPr lang="ru-RU" sz="1400" dirty="0" smtClean="0">
                <a:latin typeface="Arial Black" panose="020B0A04020102020204" pitchFamily="34" charset="0"/>
              </a:rPr>
              <a:t>2017</a:t>
            </a:r>
            <a:endParaRPr lang="ru-RU" sz="1400" dirty="0">
              <a:latin typeface="Arial Black" panose="020B0A04020102020204" pitchFamily="34" charset="0"/>
            </a:endParaRP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608" y="519888"/>
            <a:ext cx="676864" cy="676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323105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Группа 99"/>
          <p:cNvGrpSpPr/>
          <p:nvPr/>
        </p:nvGrpSpPr>
        <p:grpSpPr>
          <a:xfrm rot="21095698">
            <a:off x="900859" y="-1237965"/>
            <a:ext cx="7918345" cy="8662864"/>
            <a:chOff x="2045390" y="1136389"/>
            <a:chExt cx="6214834" cy="5579942"/>
          </a:xfrm>
          <a:solidFill>
            <a:schemeClr val="bg1">
              <a:lumMod val="65000"/>
              <a:alpha val="14000"/>
            </a:schemeClr>
          </a:solidFill>
          <a:effectLst/>
        </p:grpSpPr>
        <p:sp>
          <p:nvSpPr>
            <p:cNvPr id="96" name="Freeform 5"/>
            <p:cNvSpPr>
              <a:spLocks/>
            </p:cNvSpPr>
            <p:nvPr/>
          </p:nvSpPr>
          <p:spPr bwMode="auto">
            <a:xfrm rot="21439583">
              <a:off x="6752056" y="2477586"/>
              <a:ext cx="1508168" cy="1735240"/>
            </a:xfrm>
            <a:custGeom>
              <a:avLst/>
              <a:gdLst/>
              <a:ahLst/>
              <a:cxnLst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30" y="67"/>
                </a:cxn>
                <a:cxn ang="0">
                  <a:pos x="52" y="33"/>
                </a:cxn>
                <a:cxn ang="0">
                  <a:pos x="71" y="6"/>
                </a:cxn>
                <a:cxn ang="0">
                  <a:pos x="106" y="7"/>
                </a:cxn>
                <a:cxn ang="0">
                  <a:pos x="140" y="24"/>
                </a:cxn>
                <a:cxn ang="0">
                  <a:pos x="152" y="47"/>
                </a:cxn>
                <a:cxn ang="0">
                  <a:pos x="175" y="75"/>
                </a:cxn>
                <a:cxn ang="0">
                  <a:pos x="196" y="76"/>
                </a:cxn>
                <a:cxn ang="0">
                  <a:pos x="215" y="69"/>
                </a:cxn>
                <a:cxn ang="0">
                  <a:pos x="238" y="90"/>
                </a:cxn>
                <a:cxn ang="0">
                  <a:pos x="246" y="122"/>
                </a:cxn>
                <a:cxn ang="0">
                  <a:pos x="265" y="145"/>
                </a:cxn>
                <a:cxn ang="0">
                  <a:pos x="258" y="174"/>
                </a:cxn>
                <a:cxn ang="0">
                  <a:pos x="228" y="168"/>
                </a:cxn>
                <a:cxn ang="0">
                  <a:pos x="199" y="185"/>
                </a:cxn>
                <a:cxn ang="0">
                  <a:pos x="196" y="204"/>
                </a:cxn>
                <a:cxn ang="0">
                  <a:pos x="191" y="233"/>
                </a:cxn>
                <a:cxn ang="0">
                  <a:pos x="203" y="257"/>
                </a:cxn>
                <a:cxn ang="0">
                  <a:pos x="213" y="265"/>
                </a:cxn>
                <a:cxn ang="0">
                  <a:pos x="218" y="282"/>
                </a:cxn>
                <a:cxn ang="0">
                  <a:pos x="220" y="302"/>
                </a:cxn>
                <a:cxn ang="0">
                  <a:pos x="187" y="319"/>
                </a:cxn>
                <a:cxn ang="0">
                  <a:pos x="139" y="314"/>
                </a:cxn>
                <a:cxn ang="0">
                  <a:pos x="151" y="292"/>
                </a:cxn>
                <a:cxn ang="0">
                  <a:pos x="113" y="293"/>
                </a:cxn>
                <a:cxn ang="0">
                  <a:pos x="95" y="312"/>
                </a:cxn>
                <a:cxn ang="0">
                  <a:pos x="84" y="328"/>
                </a:cxn>
                <a:cxn ang="0">
                  <a:pos x="59" y="346"/>
                </a:cxn>
                <a:cxn ang="0">
                  <a:pos x="28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31" y="327"/>
                </a:cxn>
                <a:cxn ang="0">
                  <a:pos x="24" y="310"/>
                </a:cxn>
                <a:cxn ang="0">
                  <a:pos x="15" y="288"/>
                </a:cxn>
                <a:cxn ang="0">
                  <a:pos x="9" y="276"/>
                </a:cxn>
                <a:cxn ang="0">
                  <a:pos x="10" y="257"/>
                </a:cxn>
                <a:cxn ang="0">
                  <a:pos x="14" y="226"/>
                </a:cxn>
                <a:cxn ang="0">
                  <a:pos x="25" y="209"/>
                </a:cxn>
                <a:cxn ang="0">
                  <a:pos x="18" y="184"/>
                </a:cxn>
                <a:cxn ang="0">
                  <a:pos x="23" y="160"/>
                </a:cxn>
                <a:cxn ang="0">
                  <a:pos x="24" y="129"/>
                </a:cxn>
                <a:cxn ang="0">
                  <a:pos x="18" y="104"/>
                </a:cxn>
              </a:cxnLst>
              <a:rect l="0" t="0" r="r" b="b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8" y="350"/>
                  </a:lnTo>
                  <a:lnTo>
                    <a:pt x="28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9" name="Freeform 6"/>
            <p:cNvSpPr>
              <a:spLocks/>
            </p:cNvSpPr>
            <p:nvPr/>
          </p:nvSpPr>
          <p:spPr bwMode="auto">
            <a:xfrm rot="21439583">
              <a:off x="5936291" y="2923073"/>
              <a:ext cx="1012112" cy="1287381"/>
            </a:xfrm>
            <a:custGeom>
              <a:avLst/>
              <a:gdLst/>
              <a:ahLst/>
              <a:cxnLst>
                <a:cxn ang="0">
                  <a:pos x="8" y="81"/>
                </a:cxn>
                <a:cxn ang="0">
                  <a:pos x="18" y="70"/>
                </a:cxn>
                <a:cxn ang="0">
                  <a:pos x="25" y="59"/>
                </a:cxn>
                <a:cxn ang="0">
                  <a:pos x="36" y="51"/>
                </a:cxn>
                <a:cxn ang="0">
                  <a:pos x="52" y="47"/>
                </a:cxn>
                <a:cxn ang="0">
                  <a:pos x="77" y="41"/>
                </a:cxn>
                <a:cxn ang="0">
                  <a:pos x="88" y="29"/>
                </a:cxn>
                <a:cxn ang="0">
                  <a:pos x="98" y="27"/>
                </a:cxn>
                <a:cxn ang="0">
                  <a:pos x="105" y="40"/>
                </a:cxn>
                <a:cxn ang="0">
                  <a:pos x="108" y="51"/>
                </a:cxn>
                <a:cxn ang="0">
                  <a:pos x="106" y="64"/>
                </a:cxn>
                <a:cxn ang="0">
                  <a:pos x="121" y="54"/>
                </a:cxn>
                <a:cxn ang="0">
                  <a:pos x="137" y="51"/>
                </a:cxn>
                <a:cxn ang="0">
                  <a:pos x="149" y="43"/>
                </a:cxn>
                <a:cxn ang="0">
                  <a:pos x="147" y="28"/>
                </a:cxn>
                <a:cxn ang="0">
                  <a:pos x="152" y="15"/>
                </a:cxn>
                <a:cxn ang="0">
                  <a:pos x="159" y="9"/>
                </a:cxn>
                <a:cxn ang="0">
                  <a:pos x="171" y="8"/>
                </a:cxn>
                <a:cxn ang="0">
                  <a:pos x="166" y="38"/>
                </a:cxn>
                <a:cxn ang="0">
                  <a:pos x="167" y="59"/>
                </a:cxn>
                <a:cxn ang="0">
                  <a:pos x="177" y="80"/>
                </a:cxn>
                <a:cxn ang="0">
                  <a:pos x="167" y="99"/>
                </a:cxn>
                <a:cxn ang="0">
                  <a:pos x="181" y="121"/>
                </a:cxn>
                <a:cxn ang="0">
                  <a:pos x="169" y="140"/>
                </a:cxn>
                <a:cxn ang="0">
                  <a:pos x="152" y="161"/>
                </a:cxn>
                <a:cxn ang="0">
                  <a:pos x="149" y="180"/>
                </a:cxn>
                <a:cxn ang="0">
                  <a:pos x="149" y="197"/>
                </a:cxn>
                <a:cxn ang="0">
                  <a:pos x="168" y="216"/>
                </a:cxn>
                <a:cxn ang="0">
                  <a:pos x="171" y="234"/>
                </a:cxn>
                <a:cxn ang="0">
                  <a:pos x="180" y="253"/>
                </a:cxn>
                <a:cxn ang="0">
                  <a:pos x="171" y="265"/>
                </a:cxn>
                <a:cxn ang="0">
                  <a:pos x="156" y="268"/>
                </a:cxn>
                <a:cxn ang="0">
                  <a:pos x="141" y="261"/>
                </a:cxn>
                <a:cxn ang="0">
                  <a:pos x="135" y="244"/>
                </a:cxn>
                <a:cxn ang="0">
                  <a:pos x="127" y="255"/>
                </a:cxn>
                <a:cxn ang="0">
                  <a:pos x="117" y="254"/>
                </a:cxn>
                <a:cxn ang="0">
                  <a:pos x="104" y="251"/>
                </a:cxn>
                <a:cxn ang="0">
                  <a:pos x="92" y="252"/>
                </a:cxn>
                <a:cxn ang="0">
                  <a:pos x="74" y="239"/>
                </a:cxn>
                <a:cxn ang="0">
                  <a:pos x="62" y="265"/>
                </a:cxn>
                <a:cxn ang="0">
                  <a:pos x="29" y="265"/>
                </a:cxn>
                <a:cxn ang="0">
                  <a:pos x="49" y="240"/>
                </a:cxn>
                <a:cxn ang="0">
                  <a:pos x="41" y="213"/>
                </a:cxn>
                <a:cxn ang="0">
                  <a:pos x="41" y="194"/>
                </a:cxn>
                <a:cxn ang="0">
                  <a:pos x="32" y="176"/>
                </a:cxn>
                <a:cxn ang="0">
                  <a:pos x="24" y="155"/>
                </a:cxn>
                <a:cxn ang="0">
                  <a:pos x="34" y="141"/>
                </a:cxn>
                <a:cxn ang="0">
                  <a:pos x="47" y="129"/>
                </a:cxn>
                <a:cxn ang="0">
                  <a:pos x="70" y="116"/>
                </a:cxn>
                <a:cxn ang="0">
                  <a:pos x="68" y="82"/>
                </a:cxn>
                <a:cxn ang="0">
                  <a:pos x="38" y="84"/>
                </a:cxn>
                <a:cxn ang="0">
                  <a:pos x="18" y="100"/>
                </a:cxn>
                <a:cxn ang="0">
                  <a:pos x="4" y="89"/>
                </a:cxn>
              </a:cxnLst>
              <a:rect l="0" t="0" r="r" b="b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0" name="Freeform 8"/>
            <p:cNvSpPr>
              <a:spLocks/>
            </p:cNvSpPr>
            <p:nvPr/>
          </p:nvSpPr>
          <p:spPr bwMode="auto">
            <a:xfrm rot="21439583">
              <a:off x="2936531" y="3794175"/>
              <a:ext cx="630071" cy="1077926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30" y="31"/>
                </a:cxn>
                <a:cxn ang="0">
                  <a:pos x="35" y="28"/>
                </a:cxn>
                <a:cxn ang="0">
                  <a:pos x="46" y="27"/>
                </a:cxn>
                <a:cxn ang="0">
                  <a:pos x="52" y="20"/>
                </a:cxn>
                <a:cxn ang="0">
                  <a:pos x="59" y="12"/>
                </a:cxn>
                <a:cxn ang="0">
                  <a:pos x="61" y="2"/>
                </a:cxn>
                <a:cxn ang="0">
                  <a:pos x="78" y="4"/>
                </a:cxn>
                <a:cxn ang="0">
                  <a:pos x="79" y="18"/>
                </a:cxn>
                <a:cxn ang="0">
                  <a:pos x="84" y="24"/>
                </a:cxn>
                <a:cxn ang="0">
                  <a:pos x="91" y="28"/>
                </a:cxn>
                <a:cxn ang="0">
                  <a:pos x="93" y="51"/>
                </a:cxn>
                <a:cxn ang="0">
                  <a:pos x="108" y="64"/>
                </a:cxn>
                <a:cxn ang="0">
                  <a:pos x="107" y="78"/>
                </a:cxn>
                <a:cxn ang="0">
                  <a:pos x="105" y="88"/>
                </a:cxn>
                <a:cxn ang="0">
                  <a:pos x="110" y="94"/>
                </a:cxn>
                <a:cxn ang="0">
                  <a:pos x="111" y="104"/>
                </a:cxn>
                <a:cxn ang="0">
                  <a:pos x="98" y="112"/>
                </a:cxn>
                <a:cxn ang="0">
                  <a:pos x="98" y="115"/>
                </a:cxn>
                <a:cxn ang="0">
                  <a:pos x="98" y="115"/>
                </a:cxn>
                <a:cxn ang="0">
                  <a:pos x="88" y="120"/>
                </a:cxn>
                <a:cxn ang="0">
                  <a:pos x="83" y="129"/>
                </a:cxn>
                <a:cxn ang="0">
                  <a:pos x="74" y="130"/>
                </a:cxn>
                <a:cxn ang="0">
                  <a:pos x="71" y="139"/>
                </a:cxn>
                <a:cxn ang="0">
                  <a:pos x="81" y="150"/>
                </a:cxn>
                <a:cxn ang="0">
                  <a:pos x="86" y="159"/>
                </a:cxn>
                <a:cxn ang="0">
                  <a:pos x="97" y="159"/>
                </a:cxn>
                <a:cxn ang="0">
                  <a:pos x="101" y="165"/>
                </a:cxn>
                <a:cxn ang="0">
                  <a:pos x="99" y="206"/>
                </a:cxn>
                <a:cxn ang="0">
                  <a:pos x="92" y="210"/>
                </a:cxn>
                <a:cxn ang="0">
                  <a:pos x="78" y="209"/>
                </a:cxn>
                <a:cxn ang="0">
                  <a:pos x="71" y="215"/>
                </a:cxn>
                <a:cxn ang="0">
                  <a:pos x="71" y="223"/>
                </a:cxn>
                <a:cxn ang="0">
                  <a:pos x="61" y="221"/>
                </a:cxn>
                <a:cxn ang="0">
                  <a:pos x="55" y="226"/>
                </a:cxn>
                <a:cxn ang="0">
                  <a:pos x="44" y="215"/>
                </a:cxn>
                <a:cxn ang="0">
                  <a:pos x="37" y="215"/>
                </a:cxn>
                <a:cxn ang="0">
                  <a:pos x="27" y="207"/>
                </a:cxn>
                <a:cxn ang="0">
                  <a:pos x="18" y="200"/>
                </a:cxn>
                <a:cxn ang="0">
                  <a:pos x="7" y="186"/>
                </a:cxn>
                <a:cxn ang="0">
                  <a:pos x="10" y="179"/>
                </a:cxn>
                <a:cxn ang="0">
                  <a:pos x="4" y="173"/>
                </a:cxn>
                <a:cxn ang="0">
                  <a:pos x="6" y="163"/>
                </a:cxn>
                <a:cxn ang="0">
                  <a:pos x="1" y="153"/>
                </a:cxn>
                <a:cxn ang="0">
                  <a:pos x="4" y="146"/>
                </a:cxn>
                <a:cxn ang="0">
                  <a:pos x="6" y="136"/>
                </a:cxn>
                <a:cxn ang="0">
                  <a:pos x="7" y="123"/>
                </a:cxn>
                <a:cxn ang="0">
                  <a:pos x="5" y="110"/>
                </a:cxn>
                <a:cxn ang="0">
                  <a:pos x="10" y="104"/>
                </a:cxn>
                <a:cxn ang="0">
                  <a:pos x="8" y="91"/>
                </a:cxn>
                <a:cxn ang="0">
                  <a:pos x="19" y="89"/>
                </a:cxn>
                <a:cxn ang="0">
                  <a:pos x="17" y="77"/>
                </a:cxn>
                <a:cxn ang="0">
                  <a:pos x="23" y="72"/>
                </a:cxn>
                <a:cxn ang="0">
                  <a:pos x="24" y="52"/>
                </a:cxn>
                <a:cxn ang="0">
                  <a:pos x="29" y="45"/>
                </a:cxn>
                <a:cxn ang="0">
                  <a:pos x="28" y="32"/>
                </a:cxn>
              </a:cxnLst>
              <a:rect l="0" t="0" r="r" b="b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lnTo>
                    <a:pt x="98" y="115"/>
                  </a:ln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1" name="Freeform 9"/>
            <p:cNvSpPr>
              <a:spLocks noEditPoints="1"/>
            </p:cNvSpPr>
            <p:nvPr/>
          </p:nvSpPr>
          <p:spPr bwMode="auto">
            <a:xfrm rot="21439583">
              <a:off x="2045390" y="4696010"/>
              <a:ext cx="1344150" cy="1263539"/>
            </a:xfrm>
            <a:custGeom>
              <a:avLst/>
              <a:gdLst/>
              <a:ahLst/>
              <a:cxnLst>
                <a:cxn ang="0">
                  <a:pos x="210" y="238"/>
                </a:cxn>
                <a:cxn ang="0">
                  <a:pos x="199" y="253"/>
                </a:cxn>
                <a:cxn ang="0">
                  <a:pos x="167" y="264"/>
                </a:cxn>
                <a:cxn ang="0">
                  <a:pos x="160" y="247"/>
                </a:cxn>
                <a:cxn ang="0">
                  <a:pos x="142" y="251"/>
                </a:cxn>
                <a:cxn ang="0">
                  <a:pos x="120" y="238"/>
                </a:cxn>
                <a:cxn ang="0">
                  <a:pos x="111" y="226"/>
                </a:cxn>
                <a:cxn ang="0">
                  <a:pos x="92" y="218"/>
                </a:cxn>
                <a:cxn ang="0">
                  <a:pos x="77" y="201"/>
                </a:cxn>
                <a:cxn ang="0">
                  <a:pos x="49" y="182"/>
                </a:cxn>
                <a:cxn ang="0">
                  <a:pos x="35" y="183"/>
                </a:cxn>
                <a:cxn ang="0">
                  <a:pos x="19" y="162"/>
                </a:cxn>
                <a:cxn ang="0">
                  <a:pos x="10" y="145"/>
                </a:cxn>
                <a:cxn ang="0">
                  <a:pos x="1" y="126"/>
                </a:cxn>
                <a:cxn ang="0">
                  <a:pos x="15" y="120"/>
                </a:cxn>
                <a:cxn ang="0">
                  <a:pos x="27" y="106"/>
                </a:cxn>
                <a:cxn ang="0">
                  <a:pos x="43" y="112"/>
                </a:cxn>
                <a:cxn ang="0">
                  <a:pos x="55" y="91"/>
                </a:cxn>
                <a:cxn ang="0">
                  <a:pos x="58" y="79"/>
                </a:cxn>
                <a:cxn ang="0">
                  <a:pos x="79" y="80"/>
                </a:cxn>
                <a:cxn ang="0">
                  <a:pos x="98" y="86"/>
                </a:cxn>
                <a:cxn ang="0">
                  <a:pos x="109" y="106"/>
                </a:cxn>
                <a:cxn ang="0">
                  <a:pos x="128" y="107"/>
                </a:cxn>
                <a:cxn ang="0">
                  <a:pos x="128" y="83"/>
                </a:cxn>
                <a:cxn ang="0">
                  <a:pos x="131" y="67"/>
                </a:cxn>
                <a:cxn ang="0">
                  <a:pos x="151" y="71"/>
                </a:cxn>
                <a:cxn ang="0">
                  <a:pos x="140" y="44"/>
                </a:cxn>
                <a:cxn ang="0">
                  <a:pos x="147" y="27"/>
                </a:cxn>
                <a:cxn ang="0">
                  <a:pos x="170" y="12"/>
                </a:cxn>
                <a:cxn ang="0">
                  <a:pos x="179" y="4"/>
                </a:cxn>
                <a:cxn ang="0">
                  <a:pos x="196" y="21"/>
                </a:cxn>
                <a:cxn ang="0">
                  <a:pos x="224" y="40"/>
                </a:cxn>
                <a:cxn ang="0">
                  <a:pos x="235" y="48"/>
                </a:cxn>
                <a:cxn ang="0">
                  <a:pos x="228" y="81"/>
                </a:cxn>
                <a:cxn ang="0">
                  <a:pos x="226" y="101"/>
                </a:cxn>
                <a:cxn ang="0">
                  <a:pos x="225" y="132"/>
                </a:cxn>
                <a:cxn ang="0">
                  <a:pos x="218" y="145"/>
                </a:cxn>
                <a:cxn ang="0">
                  <a:pos x="203" y="173"/>
                </a:cxn>
                <a:cxn ang="0">
                  <a:pos x="191" y="189"/>
                </a:cxn>
                <a:cxn ang="0">
                  <a:pos x="191" y="210"/>
                </a:cxn>
                <a:cxn ang="0">
                  <a:pos x="211" y="225"/>
                </a:cxn>
                <a:cxn ang="0">
                  <a:pos x="177" y="1"/>
                </a:cxn>
                <a:cxn ang="0">
                  <a:pos x="58" y="76"/>
                </a:cxn>
                <a:cxn ang="0">
                  <a:pos x="57" y="76"/>
                </a:cxn>
              </a:cxnLst>
              <a:rect l="0" t="0" r="r" b="b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2" name="Freeform 12"/>
            <p:cNvSpPr>
              <a:spLocks noEditPoints="1"/>
            </p:cNvSpPr>
            <p:nvPr/>
          </p:nvSpPr>
          <p:spPr bwMode="auto">
            <a:xfrm rot="21439583">
              <a:off x="5098311" y="3274651"/>
              <a:ext cx="1306145" cy="1008108"/>
            </a:xfrm>
            <a:custGeom>
              <a:avLst/>
              <a:gdLst/>
              <a:ahLst/>
              <a:cxnLst>
                <a:cxn ang="0">
                  <a:pos x="139" y="12"/>
                </a:cxn>
                <a:cxn ang="0">
                  <a:pos x="156" y="21"/>
                </a:cxn>
                <a:cxn ang="0">
                  <a:pos x="170" y="32"/>
                </a:cxn>
                <a:cxn ang="0">
                  <a:pos x="190" y="16"/>
                </a:cxn>
                <a:cxn ang="0">
                  <a:pos x="220" y="14"/>
                </a:cxn>
                <a:cxn ang="0">
                  <a:pos x="222" y="48"/>
                </a:cxn>
                <a:cxn ang="0">
                  <a:pos x="199" y="61"/>
                </a:cxn>
                <a:cxn ang="0">
                  <a:pos x="186" y="73"/>
                </a:cxn>
                <a:cxn ang="0">
                  <a:pos x="176" y="87"/>
                </a:cxn>
                <a:cxn ang="0">
                  <a:pos x="184" y="108"/>
                </a:cxn>
                <a:cxn ang="0">
                  <a:pos x="193" y="126"/>
                </a:cxn>
                <a:cxn ang="0">
                  <a:pos x="193" y="145"/>
                </a:cxn>
                <a:cxn ang="0">
                  <a:pos x="201" y="172"/>
                </a:cxn>
                <a:cxn ang="0">
                  <a:pos x="181" y="197"/>
                </a:cxn>
                <a:cxn ang="0">
                  <a:pos x="168" y="189"/>
                </a:cxn>
                <a:cxn ang="0">
                  <a:pos x="156" y="199"/>
                </a:cxn>
                <a:cxn ang="0">
                  <a:pos x="130" y="187"/>
                </a:cxn>
                <a:cxn ang="0">
                  <a:pos x="112" y="182"/>
                </a:cxn>
                <a:cxn ang="0">
                  <a:pos x="103" y="147"/>
                </a:cxn>
                <a:cxn ang="0">
                  <a:pos x="76" y="150"/>
                </a:cxn>
                <a:cxn ang="0">
                  <a:pos x="61" y="182"/>
                </a:cxn>
                <a:cxn ang="0">
                  <a:pos x="47" y="189"/>
                </a:cxn>
                <a:cxn ang="0">
                  <a:pos x="23" y="207"/>
                </a:cxn>
                <a:cxn ang="0">
                  <a:pos x="0" y="192"/>
                </a:cxn>
                <a:cxn ang="0">
                  <a:pos x="11" y="178"/>
                </a:cxn>
                <a:cxn ang="0">
                  <a:pos x="18" y="159"/>
                </a:cxn>
                <a:cxn ang="0">
                  <a:pos x="13" y="133"/>
                </a:cxn>
                <a:cxn ang="0">
                  <a:pos x="26" y="125"/>
                </a:cxn>
                <a:cxn ang="0">
                  <a:pos x="10" y="108"/>
                </a:cxn>
                <a:cxn ang="0">
                  <a:pos x="12" y="79"/>
                </a:cxn>
                <a:cxn ang="0">
                  <a:pos x="23" y="73"/>
                </a:cxn>
                <a:cxn ang="0">
                  <a:pos x="29" y="54"/>
                </a:cxn>
                <a:cxn ang="0">
                  <a:pos x="42" y="44"/>
                </a:cxn>
                <a:cxn ang="0">
                  <a:pos x="52" y="52"/>
                </a:cxn>
                <a:cxn ang="0">
                  <a:pos x="64" y="67"/>
                </a:cxn>
                <a:cxn ang="0">
                  <a:pos x="77" y="81"/>
                </a:cxn>
                <a:cxn ang="0">
                  <a:pos x="85" y="57"/>
                </a:cxn>
                <a:cxn ang="0">
                  <a:pos x="89" y="36"/>
                </a:cxn>
                <a:cxn ang="0">
                  <a:pos x="107" y="16"/>
                </a:cxn>
                <a:cxn ang="0">
                  <a:pos x="128" y="0"/>
                </a:cxn>
                <a:cxn ang="0">
                  <a:pos x="234" y="174"/>
                </a:cxn>
                <a:cxn ang="0">
                  <a:pos x="181" y="197"/>
                </a:cxn>
                <a:cxn ang="0">
                  <a:pos x="181" y="197"/>
                </a:cxn>
                <a:cxn ang="0">
                  <a:pos x="181" y="197"/>
                </a:cxn>
              </a:cxnLst>
              <a:rect l="0" t="0" r="r" b="b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3" name="Freeform 13"/>
            <p:cNvSpPr>
              <a:spLocks/>
            </p:cNvSpPr>
            <p:nvPr/>
          </p:nvSpPr>
          <p:spPr bwMode="auto">
            <a:xfrm rot="21439583">
              <a:off x="3027423" y="5063253"/>
              <a:ext cx="598067" cy="807167"/>
            </a:xfrm>
            <a:custGeom>
              <a:avLst/>
              <a:gdLst/>
              <a:ahLst/>
              <a:cxnLst>
                <a:cxn ang="0">
                  <a:pos x="58" y="170"/>
                </a:cxn>
                <a:cxn ang="0">
                  <a:pos x="61" y="162"/>
                </a:cxn>
                <a:cxn ang="0">
                  <a:pos x="57" y="159"/>
                </a:cxn>
                <a:cxn ang="0">
                  <a:pos x="55" y="151"/>
                </a:cxn>
                <a:cxn ang="0">
                  <a:pos x="49" y="151"/>
                </a:cxn>
                <a:cxn ang="0">
                  <a:pos x="46" y="150"/>
                </a:cxn>
                <a:cxn ang="0">
                  <a:pos x="36" y="143"/>
                </a:cxn>
                <a:cxn ang="0">
                  <a:pos x="28" y="135"/>
                </a:cxn>
                <a:cxn ang="0">
                  <a:pos x="20" y="141"/>
                </a:cxn>
                <a:cxn ang="0">
                  <a:pos x="16" y="128"/>
                </a:cxn>
                <a:cxn ang="0">
                  <a:pos x="12" y="116"/>
                </a:cxn>
                <a:cxn ang="0">
                  <a:pos x="2" y="107"/>
                </a:cxn>
                <a:cxn ang="0">
                  <a:pos x="16" y="107"/>
                </a:cxn>
                <a:cxn ang="0">
                  <a:pos x="12" y="98"/>
                </a:cxn>
                <a:cxn ang="0">
                  <a:pos x="16" y="89"/>
                </a:cxn>
                <a:cxn ang="0">
                  <a:pos x="28" y="91"/>
                </a:cxn>
                <a:cxn ang="0">
                  <a:pos x="31" y="79"/>
                </a:cxn>
                <a:cxn ang="0">
                  <a:pos x="31" y="66"/>
                </a:cxn>
                <a:cxn ang="0">
                  <a:pos x="43" y="63"/>
                </a:cxn>
                <a:cxn ang="0">
                  <a:pos x="34" y="54"/>
                </a:cxn>
                <a:cxn ang="0">
                  <a:pos x="35" y="45"/>
                </a:cxn>
                <a:cxn ang="0">
                  <a:pos x="50" y="50"/>
                </a:cxn>
                <a:cxn ang="0">
                  <a:pos x="53" y="40"/>
                </a:cxn>
                <a:cxn ang="0">
                  <a:pos x="48" y="31"/>
                </a:cxn>
                <a:cxn ang="0">
                  <a:pos x="51" y="19"/>
                </a:cxn>
                <a:cxn ang="0">
                  <a:pos x="43" y="12"/>
                </a:cxn>
                <a:cxn ang="0">
                  <a:pos x="46" y="4"/>
                </a:cxn>
                <a:cxn ang="0">
                  <a:pos x="50" y="2"/>
                </a:cxn>
                <a:cxn ang="0">
                  <a:pos x="91" y="3"/>
                </a:cxn>
                <a:cxn ang="0">
                  <a:pos x="95" y="9"/>
                </a:cxn>
                <a:cxn ang="0">
                  <a:pos x="107" y="9"/>
                </a:cxn>
                <a:cxn ang="0">
                  <a:pos x="103" y="14"/>
                </a:cxn>
                <a:cxn ang="0">
                  <a:pos x="105" y="20"/>
                </a:cxn>
                <a:cxn ang="0">
                  <a:pos x="97" y="21"/>
                </a:cxn>
                <a:cxn ang="0">
                  <a:pos x="87" y="26"/>
                </a:cxn>
                <a:cxn ang="0">
                  <a:pos x="88" y="34"/>
                </a:cxn>
                <a:cxn ang="0">
                  <a:pos x="97" y="34"/>
                </a:cxn>
                <a:cxn ang="0">
                  <a:pos x="98" y="41"/>
                </a:cxn>
                <a:cxn ang="0">
                  <a:pos x="105" y="44"/>
                </a:cxn>
                <a:cxn ang="0">
                  <a:pos x="107" y="55"/>
                </a:cxn>
                <a:cxn ang="0">
                  <a:pos x="104" y="62"/>
                </a:cxn>
                <a:cxn ang="0">
                  <a:pos x="100" y="63"/>
                </a:cxn>
                <a:cxn ang="0">
                  <a:pos x="101" y="73"/>
                </a:cxn>
                <a:cxn ang="0">
                  <a:pos x="97" y="77"/>
                </a:cxn>
                <a:cxn ang="0">
                  <a:pos x="82" y="80"/>
                </a:cxn>
                <a:cxn ang="0">
                  <a:pos x="81" y="86"/>
                </a:cxn>
                <a:cxn ang="0">
                  <a:pos x="91" y="89"/>
                </a:cxn>
                <a:cxn ang="0">
                  <a:pos x="94" y="94"/>
                </a:cxn>
                <a:cxn ang="0">
                  <a:pos x="87" y="95"/>
                </a:cxn>
                <a:cxn ang="0">
                  <a:pos x="85" y="103"/>
                </a:cxn>
                <a:cxn ang="0">
                  <a:pos x="77" y="106"/>
                </a:cxn>
                <a:cxn ang="0">
                  <a:pos x="77" y="115"/>
                </a:cxn>
                <a:cxn ang="0">
                  <a:pos x="85" y="115"/>
                </a:cxn>
                <a:cxn ang="0">
                  <a:pos x="91" y="119"/>
                </a:cxn>
                <a:cxn ang="0">
                  <a:pos x="90" y="126"/>
                </a:cxn>
                <a:cxn ang="0">
                  <a:pos x="83" y="130"/>
                </a:cxn>
                <a:cxn ang="0">
                  <a:pos x="77" y="138"/>
                </a:cxn>
                <a:cxn ang="0">
                  <a:pos x="76" y="148"/>
                </a:cxn>
                <a:cxn ang="0">
                  <a:pos x="65" y="147"/>
                </a:cxn>
                <a:cxn ang="0">
                  <a:pos x="62" y="151"/>
                </a:cxn>
                <a:cxn ang="0">
                  <a:pos x="66" y="154"/>
                </a:cxn>
                <a:cxn ang="0">
                  <a:pos x="69" y="160"/>
                </a:cxn>
                <a:cxn ang="0">
                  <a:pos x="58" y="170"/>
                </a:cxn>
              </a:cxnLst>
              <a:rect l="0" t="0" r="r" b="b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5" name="Freeform 14"/>
            <p:cNvSpPr>
              <a:spLocks/>
            </p:cNvSpPr>
            <p:nvPr/>
          </p:nvSpPr>
          <p:spPr bwMode="auto">
            <a:xfrm rot="21439583">
              <a:off x="3356636" y="5584269"/>
              <a:ext cx="720080" cy="480213"/>
            </a:xfrm>
            <a:custGeom>
              <a:avLst/>
              <a:gdLst/>
              <a:ahLst/>
              <a:cxnLst>
                <a:cxn ang="0">
                  <a:pos x="46" y="101"/>
                </a:cxn>
                <a:cxn ang="0">
                  <a:pos x="41" y="97"/>
                </a:cxn>
                <a:cxn ang="0">
                  <a:pos x="35" y="93"/>
                </a:cxn>
                <a:cxn ang="0">
                  <a:pos x="28" y="92"/>
                </a:cxn>
                <a:cxn ang="0">
                  <a:pos x="26" y="87"/>
                </a:cxn>
                <a:cxn ang="0">
                  <a:pos x="19" y="80"/>
                </a:cxn>
                <a:cxn ang="0">
                  <a:pos x="10" y="78"/>
                </a:cxn>
                <a:cxn ang="0">
                  <a:pos x="10" y="73"/>
                </a:cxn>
                <a:cxn ang="0">
                  <a:pos x="4" y="70"/>
                </a:cxn>
                <a:cxn ang="0">
                  <a:pos x="0" y="61"/>
                </a:cxn>
                <a:cxn ang="0">
                  <a:pos x="1" y="57"/>
                </a:cxn>
                <a:cxn ang="0">
                  <a:pos x="10" y="49"/>
                </a:cxn>
                <a:cxn ang="0">
                  <a:pos x="19" y="49"/>
                </a:cxn>
                <a:cxn ang="0">
                  <a:pos x="35" y="49"/>
                </a:cxn>
                <a:cxn ang="0">
                  <a:pos x="36" y="43"/>
                </a:cxn>
                <a:cxn ang="0">
                  <a:pos x="44" y="43"/>
                </a:cxn>
                <a:cxn ang="0">
                  <a:pos x="50" y="39"/>
                </a:cxn>
                <a:cxn ang="0">
                  <a:pos x="57" y="32"/>
                </a:cxn>
                <a:cxn ang="0">
                  <a:pos x="66" y="37"/>
                </a:cxn>
                <a:cxn ang="0">
                  <a:pos x="66" y="31"/>
                </a:cxn>
                <a:cxn ang="0">
                  <a:pos x="74" y="31"/>
                </a:cxn>
                <a:cxn ang="0">
                  <a:pos x="76" y="25"/>
                </a:cxn>
                <a:cxn ang="0">
                  <a:pos x="84" y="24"/>
                </a:cxn>
                <a:cxn ang="0">
                  <a:pos x="87" y="17"/>
                </a:cxn>
                <a:cxn ang="0">
                  <a:pos x="93" y="15"/>
                </a:cxn>
                <a:cxn ang="0">
                  <a:pos x="101" y="9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114" y="9"/>
                </a:cxn>
                <a:cxn ang="0">
                  <a:pos x="120" y="9"/>
                </a:cxn>
                <a:cxn ang="0">
                  <a:pos x="123" y="13"/>
                </a:cxn>
                <a:cxn ang="0">
                  <a:pos x="118" y="17"/>
                </a:cxn>
                <a:cxn ang="0">
                  <a:pos x="122" y="20"/>
                </a:cxn>
                <a:cxn ang="0">
                  <a:pos x="127" y="22"/>
                </a:cxn>
                <a:cxn ang="0">
                  <a:pos x="128" y="28"/>
                </a:cxn>
                <a:cxn ang="0">
                  <a:pos x="126" y="36"/>
                </a:cxn>
                <a:cxn ang="0">
                  <a:pos x="119" y="38"/>
                </a:cxn>
                <a:cxn ang="0">
                  <a:pos x="119" y="46"/>
                </a:cxn>
                <a:cxn ang="0">
                  <a:pos x="112" y="43"/>
                </a:cxn>
                <a:cxn ang="0">
                  <a:pos x="110" y="49"/>
                </a:cxn>
                <a:cxn ang="0">
                  <a:pos x="97" y="48"/>
                </a:cxn>
                <a:cxn ang="0">
                  <a:pos x="99" y="59"/>
                </a:cxn>
                <a:cxn ang="0">
                  <a:pos x="87" y="58"/>
                </a:cxn>
                <a:cxn ang="0">
                  <a:pos x="88" y="73"/>
                </a:cxn>
                <a:cxn ang="0">
                  <a:pos x="78" y="72"/>
                </a:cxn>
                <a:cxn ang="0">
                  <a:pos x="66" y="70"/>
                </a:cxn>
                <a:cxn ang="0">
                  <a:pos x="59" y="72"/>
                </a:cxn>
                <a:cxn ang="0">
                  <a:pos x="49" y="80"/>
                </a:cxn>
                <a:cxn ang="0">
                  <a:pos x="42" y="86"/>
                </a:cxn>
                <a:cxn ang="0">
                  <a:pos x="46" y="101"/>
                </a:cxn>
              </a:cxnLst>
              <a:rect l="0" t="0" r="r" b="b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6" name="Freeform 15"/>
            <p:cNvSpPr>
              <a:spLocks/>
            </p:cNvSpPr>
            <p:nvPr/>
          </p:nvSpPr>
          <p:spPr bwMode="auto">
            <a:xfrm rot="21439583">
              <a:off x="3597638" y="5802537"/>
              <a:ext cx="702080" cy="461482"/>
            </a:xfrm>
            <a:custGeom>
              <a:avLst/>
              <a:gdLst/>
              <a:ahLst/>
              <a:cxnLst>
                <a:cxn ang="0">
                  <a:pos x="57" y="94"/>
                </a:cxn>
                <a:cxn ang="0">
                  <a:pos x="53" y="91"/>
                </a:cxn>
                <a:cxn ang="0">
                  <a:pos x="49" y="96"/>
                </a:cxn>
                <a:cxn ang="0">
                  <a:pos x="42" y="95"/>
                </a:cxn>
                <a:cxn ang="0">
                  <a:pos x="41" y="85"/>
                </a:cxn>
                <a:cxn ang="0">
                  <a:pos x="32" y="81"/>
                </a:cxn>
                <a:cxn ang="0">
                  <a:pos x="28" y="73"/>
                </a:cxn>
                <a:cxn ang="0">
                  <a:pos x="18" y="65"/>
                </a:cxn>
                <a:cxn ang="0">
                  <a:pos x="14" y="59"/>
                </a:cxn>
                <a:cxn ang="0">
                  <a:pos x="2" y="49"/>
                </a:cxn>
                <a:cxn ang="0">
                  <a:pos x="5" y="52"/>
                </a:cxn>
                <a:cxn ang="0">
                  <a:pos x="1" y="37"/>
                </a:cxn>
                <a:cxn ang="0">
                  <a:pos x="8" y="31"/>
                </a:cxn>
                <a:cxn ang="0">
                  <a:pos x="18" y="23"/>
                </a:cxn>
                <a:cxn ang="0">
                  <a:pos x="25" y="21"/>
                </a:cxn>
                <a:cxn ang="0">
                  <a:pos x="37" y="23"/>
                </a:cxn>
                <a:cxn ang="0">
                  <a:pos x="47" y="24"/>
                </a:cxn>
                <a:cxn ang="0">
                  <a:pos x="46" y="9"/>
                </a:cxn>
                <a:cxn ang="0">
                  <a:pos x="58" y="10"/>
                </a:cxn>
                <a:cxn ang="0">
                  <a:pos x="68" y="15"/>
                </a:cxn>
                <a:cxn ang="0">
                  <a:pos x="76" y="26"/>
                </a:cxn>
                <a:cxn ang="0">
                  <a:pos x="87" y="25"/>
                </a:cxn>
                <a:cxn ang="0">
                  <a:pos x="93" y="16"/>
                </a:cxn>
                <a:cxn ang="0">
                  <a:pos x="96" y="5"/>
                </a:cxn>
                <a:cxn ang="0">
                  <a:pos x="106" y="9"/>
                </a:cxn>
                <a:cxn ang="0">
                  <a:pos x="110" y="3"/>
                </a:cxn>
                <a:cxn ang="0">
                  <a:pos x="123" y="0"/>
                </a:cxn>
                <a:cxn ang="0">
                  <a:pos x="125" y="6"/>
                </a:cxn>
                <a:cxn ang="0">
                  <a:pos x="120" y="11"/>
                </a:cxn>
                <a:cxn ang="0">
                  <a:pos x="123" y="32"/>
                </a:cxn>
                <a:cxn ang="0">
                  <a:pos x="116" y="39"/>
                </a:cxn>
                <a:cxn ang="0">
                  <a:pos x="107" y="39"/>
                </a:cxn>
                <a:cxn ang="0">
                  <a:pos x="101" y="45"/>
                </a:cxn>
                <a:cxn ang="0">
                  <a:pos x="99" y="56"/>
                </a:cxn>
                <a:cxn ang="0">
                  <a:pos x="93" y="56"/>
                </a:cxn>
                <a:cxn ang="0">
                  <a:pos x="94" y="66"/>
                </a:cxn>
                <a:cxn ang="0">
                  <a:pos x="88" y="68"/>
                </a:cxn>
                <a:cxn ang="0">
                  <a:pos x="86" y="80"/>
                </a:cxn>
                <a:cxn ang="0">
                  <a:pos x="72" y="85"/>
                </a:cxn>
                <a:cxn ang="0">
                  <a:pos x="70" y="91"/>
                </a:cxn>
                <a:cxn ang="0">
                  <a:pos x="57" y="94"/>
                </a:cxn>
              </a:cxnLst>
              <a:rect l="0" t="0" r="r" b="b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7" name="Freeform 16"/>
            <p:cNvSpPr>
              <a:spLocks/>
            </p:cNvSpPr>
            <p:nvPr/>
          </p:nvSpPr>
          <p:spPr bwMode="auto">
            <a:xfrm rot="21439583">
              <a:off x="3921661" y="5939952"/>
              <a:ext cx="492055" cy="475105"/>
            </a:xfrm>
            <a:custGeom>
              <a:avLst/>
              <a:gdLst/>
              <a:ahLst/>
              <a:cxnLst>
                <a:cxn ang="0">
                  <a:pos x="18" y="84"/>
                </a:cxn>
                <a:cxn ang="0">
                  <a:pos x="15" y="82"/>
                </a:cxn>
                <a:cxn ang="0">
                  <a:pos x="0" y="64"/>
                </a:cxn>
                <a:cxn ang="0">
                  <a:pos x="13" y="61"/>
                </a:cxn>
                <a:cxn ang="0">
                  <a:pos x="15" y="55"/>
                </a:cxn>
                <a:cxn ang="0">
                  <a:pos x="29" y="50"/>
                </a:cxn>
                <a:cxn ang="0">
                  <a:pos x="31" y="38"/>
                </a:cxn>
                <a:cxn ang="0">
                  <a:pos x="37" y="36"/>
                </a:cxn>
                <a:cxn ang="0">
                  <a:pos x="36" y="26"/>
                </a:cxn>
                <a:cxn ang="0">
                  <a:pos x="42" y="26"/>
                </a:cxn>
                <a:cxn ang="0">
                  <a:pos x="44" y="15"/>
                </a:cxn>
                <a:cxn ang="0">
                  <a:pos x="50" y="9"/>
                </a:cxn>
                <a:cxn ang="0">
                  <a:pos x="59" y="9"/>
                </a:cxn>
                <a:cxn ang="0">
                  <a:pos x="66" y="2"/>
                </a:cxn>
                <a:cxn ang="0">
                  <a:pos x="66" y="0"/>
                </a:cxn>
                <a:cxn ang="0">
                  <a:pos x="73" y="2"/>
                </a:cxn>
                <a:cxn ang="0">
                  <a:pos x="80" y="7"/>
                </a:cxn>
                <a:cxn ang="0">
                  <a:pos x="81" y="18"/>
                </a:cxn>
                <a:cxn ang="0">
                  <a:pos x="86" y="24"/>
                </a:cxn>
                <a:cxn ang="0">
                  <a:pos x="88" y="30"/>
                </a:cxn>
                <a:cxn ang="0">
                  <a:pos x="86" y="37"/>
                </a:cxn>
                <a:cxn ang="0">
                  <a:pos x="80" y="47"/>
                </a:cxn>
                <a:cxn ang="0">
                  <a:pos x="73" y="49"/>
                </a:cxn>
                <a:cxn ang="0">
                  <a:pos x="64" y="52"/>
                </a:cxn>
                <a:cxn ang="0">
                  <a:pos x="55" y="56"/>
                </a:cxn>
                <a:cxn ang="0">
                  <a:pos x="53" y="62"/>
                </a:cxn>
                <a:cxn ang="0">
                  <a:pos x="70" y="62"/>
                </a:cxn>
                <a:cxn ang="0">
                  <a:pos x="71" y="68"/>
                </a:cxn>
                <a:cxn ang="0">
                  <a:pos x="78" y="70"/>
                </a:cxn>
                <a:cxn ang="0">
                  <a:pos x="74" y="77"/>
                </a:cxn>
                <a:cxn ang="0">
                  <a:pos x="67" y="84"/>
                </a:cxn>
                <a:cxn ang="0">
                  <a:pos x="66" y="90"/>
                </a:cxn>
                <a:cxn ang="0">
                  <a:pos x="65" y="98"/>
                </a:cxn>
                <a:cxn ang="0">
                  <a:pos x="57" y="96"/>
                </a:cxn>
                <a:cxn ang="0">
                  <a:pos x="50" y="92"/>
                </a:cxn>
                <a:cxn ang="0">
                  <a:pos x="42" y="90"/>
                </a:cxn>
                <a:cxn ang="0">
                  <a:pos x="35" y="89"/>
                </a:cxn>
                <a:cxn ang="0">
                  <a:pos x="29" y="82"/>
                </a:cxn>
                <a:cxn ang="0">
                  <a:pos x="18" y="84"/>
                </a:cxn>
              </a:cxnLst>
              <a:rect l="0" t="0" r="r" b="b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8" name="Freeform 18"/>
            <p:cNvSpPr>
              <a:spLocks/>
            </p:cNvSpPr>
            <p:nvPr/>
          </p:nvSpPr>
          <p:spPr bwMode="auto">
            <a:xfrm rot="21439583">
              <a:off x="4291159" y="6194786"/>
              <a:ext cx="252028" cy="23159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2" y="8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33" y="8"/>
                </a:cxn>
                <a:cxn ang="0">
                  <a:pos x="35" y="16"/>
                </a:cxn>
                <a:cxn ang="0">
                  <a:pos x="44" y="21"/>
                </a:cxn>
                <a:cxn ang="0">
                  <a:pos x="42" y="34"/>
                </a:cxn>
                <a:cxn ang="0">
                  <a:pos x="35" y="37"/>
                </a:cxn>
                <a:cxn ang="0">
                  <a:pos x="37" y="49"/>
                </a:cxn>
                <a:cxn ang="0">
                  <a:pos x="34" y="48"/>
                </a:cxn>
                <a:cxn ang="0">
                  <a:pos x="19" y="48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1" y="33"/>
                </a:cxn>
                <a:cxn ang="0">
                  <a:pos x="2" y="27"/>
                </a:cxn>
                <a:cxn ang="0">
                  <a:pos x="9" y="20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1"/>
                </a:cxn>
              </a:cxnLst>
              <a:rect l="0" t="0" r="r" b="b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9" name="Freeform 19"/>
            <p:cNvSpPr>
              <a:spLocks/>
            </p:cNvSpPr>
            <p:nvPr/>
          </p:nvSpPr>
          <p:spPr bwMode="auto">
            <a:xfrm rot="21439583">
              <a:off x="4037849" y="6311045"/>
              <a:ext cx="860096" cy="405286"/>
            </a:xfrm>
            <a:custGeom>
              <a:avLst/>
              <a:gdLst/>
              <a:ahLst/>
              <a:cxnLst>
                <a:cxn ang="0">
                  <a:pos x="154" y="30"/>
                </a:cxn>
                <a:cxn ang="0">
                  <a:pos x="142" y="32"/>
                </a:cxn>
                <a:cxn ang="0">
                  <a:pos x="126" y="33"/>
                </a:cxn>
                <a:cxn ang="0">
                  <a:pos x="58" y="32"/>
                </a:cxn>
                <a:cxn ang="0">
                  <a:pos x="114" y="58"/>
                </a:cxn>
                <a:cxn ang="0">
                  <a:pos x="116" y="64"/>
                </a:cxn>
                <a:cxn ang="0">
                  <a:pos x="113" y="72"/>
                </a:cxn>
                <a:cxn ang="0">
                  <a:pos x="88" y="72"/>
                </a:cxn>
                <a:cxn ang="0">
                  <a:pos x="87" y="78"/>
                </a:cxn>
                <a:cxn ang="0">
                  <a:pos x="80" y="78"/>
                </a:cxn>
                <a:cxn ang="0">
                  <a:pos x="76" y="84"/>
                </a:cxn>
                <a:cxn ang="0">
                  <a:pos x="67" y="82"/>
                </a:cxn>
                <a:cxn ang="0">
                  <a:pos x="65" y="74"/>
                </a:cxn>
                <a:cxn ang="0">
                  <a:pos x="63" y="55"/>
                </a:cxn>
                <a:cxn ang="0">
                  <a:pos x="43" y="57"/>
                </a:cxn>
                <a:cxn ang="0">
                  <a:pos x="33" y="49"/>
                </a:cxn>
                <a:cxn ang="0">
                  <a:pos x="34" y="26"/>
                </a:cxn>
                <a:cxn ang="0">
                  <a:pos x="29" y="17"/>
                </a:cxn>
                <a:cxn ang="0">
                  <a:pos x="18" y="15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2" y="0"/>
                </a:cxn>
                <a:cxn ang="0">
                  <a:pos x="18" y="7"/>
                </a:cxn>
                <a:cxn ang="0">
                  <a:pos x="25" y="8"/>
                </a:cxn>
                <a:cxn ang="0">
                  <a:pos x="33" y="10"/>
                </a:cxn>
                <a:cxn ang="0">
                  <a:pos x="40" y="14"/>
                </a:cxn>
                <a:cxn ang="0">
                  <a:pos x="48" y="16"/>
                </a:cxn>
                <a:cxn ang="0">
                  <a:pos x="56" y="22"/>
                </a:cxn>
                <a:cxn ang="0">
                  <a:pos x="67" y="23"/>
                </a:cxn>
                <a:cxn ang="0">
                  <a:pos x="82" y="23"/>
                </a:cxn>
                <a:cxn ang="0">
                  <a:pos x="154" y="30"/>
                </a:cxn>
              </a:cxnLst>
              <a:rect l="0" t="0" r="r" b="b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0" name="Freeform 20"/>
            <p:cNvSpPr>
              <a:spLocks/>
            </p:cNvSpPr>
            <p:nvPr/>
          </p:nvSpPr>
          <p:spPr bwMode="auto">
            <a:xfrm rot="21439583">
              <a:off x="3440681" y="5018480"/>
              <a:ext cx="586066" cy="618146"/>
            </a:xfrm>
            <a:custGeom>
              <a:avLst/>
              <a:gdLst/>
              <a:ahLst/>
              <a:cxnLst>
                <a:cxn ang="0">
                  <a:pos x="16" y="130"/>
                </a:cxn>
                <a:cxn ang="0">
                  <a:pos x="24" y="128"/>
                </a:cxn>
                <a:cxn ang="0">
                  <a:pos x="24" y="122"/>
                </a:cxn>
                <a:cxn ang="0">
                  <a:pos x="28" y="120"/>
                </a:cxn>
                <a:cxn ang="0">
                  <a:pos x="28" y="109"/>
                </a:cxn>
                <a:cxn ang="0">
                  <a:pos x="44" y="106"/>
                </a:cxn>
                <a:cxn ang="0">
                  <a:pos x="49" y="102"/>
                </a:cxn>
                <a:cxn ang="0">
                  <a:pos x="61" y="102"/>
                </a:cxn>
                <a:cxn ang="0">
                  <a:pos x="69" y="95"/>
                </a:cxn>
                <a:cxn ang="0">
                  <a:pos x="73" y="86"/>
                </a:cxn>
                <a:cxn ang="0">
                  <a:pos x="81" y="84"/>
                </a:cxn>
                <a:cxn ang="0">
                  <a:pos x="84" y="78"/>
                </a:cxn>
                <a:cxn ang="0">
                  <a:pos x="83" y="71"/>
                </a:cxn>
                <a:cxn ang="0">
                  <a:pos x="89" y="65"/>
                </a:cxn>
                <a:cxn ang="0">
                  <a:pos x="101" y="65"/>
                </a:cxn>
                <a:cxn ang="0">
                  <a:pos x="100" y="53"/>
                </a:cxn>
                <a:cxn ang="0">
                  <a:pos x="101" y="46"/>
                </a:cxn>
                <a:cxn ang="0">
                  <a:pos x="104" y="39"/>
                </a:cxn>
                <a:cxn ang="0">
                  <a:pos x="105" y="23"/>
                </a:cxn>
                <a:cxn ang="0">
                  <a:pos x="103" y="22"/>
                </a:cxn>
                <a:cxn ang="0">
                  <a:pos x="98" y="13"/>
                </a:cxn>
                <a:cxn ang="0">
                  <a:pos x="88" y="13"/>
                </a:cxn>
                <a:cxn ang="0">
                  <a:pos x="82" y="1"/>
                </a:cxn>
                <a:cxn ang="0">
                  <a:pos x="75" y="6"/>
                </a:cxn>
                <a:cxn ang="0">
                  <a:pos x="58" y="3"/>
                </a:cxn>
                <a:cxn ang="0">
                  <a:pos x="53" y="11"/>
                </a:cxn>
                <a:cxn ang="0">
                  <a:pos x="44" y="13"/>
                </a:cxn>
                <a:cxn ang="0">
                  <a:pos x="40" y="22"/>
                </a:cxn>
                <a:cxn ang="0">
                  <a:pos x="32" y="15"/>
                </a:cxn>
                <a:cxn ang="0">
                  <a:pos x="32" y="15"/>
                </a:cxn>
                <a:cxn ang="0">
                  <a:pos x="28" y="20"/>
                </a:cxn>
                <a:cxn ang="0">
                  <a:pos x="30" y="26"/>
                </a:cxn>
                <a:cxn ang="0">
                  <a:pos x="22" y="27"/>
                </a:cxn>
                <a:cxn ang="0">
                  <a:pos x="12" y="32"/>
                </a:cxn>
                <a:cxn ang="0">
                  <a:pos x="13" y="40"/>
                </a:cxn>
                <a:cxn ang="0">
                  <a:pos x="22" y="40"/>
                </a:cxn>
                <a:cxn ang="0">
                  <a:pos x="23" y="47"/>
                </a:cxn>
                <a:cxn ang="0">
                  <a:pos x="30" y="50"/>
                </a:cxn>
                <a:cxn ang="0">
                  <a:pos x="32" y="61"/>
                </a:cxn>
                <a:cxn ang="0">
                  <a:pos x="29" y="68"/>
                </a:cxn>
                <a:cxn ang="0">
                  <a:pos x="25" y="69"/>
                </a:cxn>
                <a:cxn ang="0">
                  <a:pos x="26" y="79"/>
                </a:cxn>
                <a:cxn ang="0">
                  <a:pos x="22" y="83"/>
                </a:cxn>
                <a:cxn ang="0">
                  <a:pos x="7" y="86"/>
                </a:cxn>
                <a:cxn ang="0">
                  <a:pos x="6" y="92"/>
                </a:cxn>
                <a:cxn ang="0">
                  <a:pos x="16" y="95"/>
                </a:cxn>
                <a:cxn ang="0">
                  <a:pos x="19" y="100"/>
                </a:cxn>
                <a:cxn ang="0">
                  <a:pos x="12" y="101"/>
                </a:cxn>
                <a:cxn ang="0">
                  <a:pos x="10" y="109"/>
                </a:cxn>
                <a:cxn ang="0">
                  <a:pos x="2" y="112"/>
                </a:cxn>
                <a:cxn ang="0">
                  <a:pos x="2" y="121"/>
                </a:cxn>
                <a:cxn ang="0">
                  <a:pos x="10" y="121"/>
                </a:cxn>
                <a:cxn ang="0">
                  <a:pos x="16" y="125"/>
                </a:cxn>
                <a:cxn ang="0">
                  <a:pos x="16" y="130"/>
                </a:cxn>
              </a:cxnLst>
              <a:rect l="0" t="0" r="r" b="b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1" name="Freeform 21"/>
            <p:cNvSpPr>
              <a:spLocks/>
            </p:cNvSpPr>
            <p:nvPr/>
          </p:nvSpPr>
          <p:spPr bwMode="auto">
            <a:xfrm rot="21439583">
              <a:off x="3372990" y="5323439"/>
              <a:ext cx="688076" cy="502351"/>
            </a:xfrm>
            <a:custGeom>
              <a:avLst/>
              <a:gdLst/>
              <a:ahLst/>
              <a:cxnLst>
                <a:cxn ang="0">
                  <a:pos x="29" y="66"/>
                </a:cxn>
                <a:cxn ang="0">
                  <a:pos x="37" y="64"/>
                </a:cxn>
                <a:cxn ang="0">
                  <a:pos x="37" y="58"/>
                </a:cxn>
                <a:cxn ang="0">
                  <a:pos x="41" y="56"/>
                </a:cxn>
                <a:cxn ang="0">
                  <a:pos x="41" y="45"/>
                </a:cxn>
                <a:cxn ang="0">
                  <a:pos x="57" y="42"/>
                </a:cxn>
                <a:cxn ang="0">
                  <a:pos x="62" y="38"/>
                </a:cxn>
                <a:cxn ang="0">
                  <a:pos x="74" y="38"/>
                </a:cxn>
                <a:cxn ang="0">
                  <a:pos x="82" y="31"/>
                </a:cxn>
                <a:cxn ang="0">
                  <a:pos x="86" y="22"/>
                </a:cxn>
                <a:cxn ang="0">
                  <a:pos x="94" y="20"/>
                </a:cxn>
                <a:cxn ang="0">
                  <a:pos x="97" y="14"/>
                </a:cxn>
                <a:cxn ang="0">
                  <a:pos x="96" y="7"/>
                </a:cxn>
                <a:cxn ang="0">
                  <a:pos x="102" y="1"/>
                </a:cxn>
                <a:cxn ang="0">
                  <a:pos x="112" y="2"/>
                </a:cxn>
                <a:cxn ang="0">
                  <a:pos x="114" y="8"/>
                </a:cxn>
                <a:cxn ang="0">
                  <a:pos x="119" y="13"/>
                </a:cxn>
                <a:cxn ang="0">
                  <a:pos x="123" y="20"/>
                </a:cxn>
                <a:cxn ang="0">
                  <a:pos x="118" y="28"/>
                </a:cxn>
                <a:cxn ang="0">
                  <a:pos x="111" y="33"/>
                </a:cxn>
                <a:cxn ang="0">
                  <a:pos x="115" y="40"/>
                </a:cxn>
                <a:cxn ang="0">
                  <a:pos x="116" y="48"/>
                </a:cxn>
                <a:cxn ang="0">
                  <a:pos x="112" y="55"/>
                </a:cxn>
                <a:cxn ang="0">
                  <a:pos x="104" y="54"/>
                </a:cxn>
                <a:cxn ang="0">
                  <a:pos x="104" y="60"/>
                </a:cxn>
                <a:cxn ang="0">
                  <a:pos x="96" y="64"/>
                </a:cxn>
                <a:cxn ang="0">
                  <a:pos x="88" y="70"/>
                </a:cxn>
                <a:cxn ang="0">
                  <a:pos x="82" y="72"/>
                </a:cxn>
                <a:cxn ang="0">
                  <a:pos x="79" y="79"/>
                </a:cxn>
                <a:cxn ang="0">
                  <a:pos x="71" y="80"/>
                </a:cxn>
                <a:cxn ang="0">
                  <a:pos x="69" y="86"/>
                </a:cxn>
                <a:cxn ang="0">
                  <a:pos x="61" y="86"/>
                </a:cxn>
                <a:cxn ang="0">
                  <a:pos x="61" y="92"/>
                </a:cxn>
                <a:cxn ang="0">
                  <a:pos x="52" y="87"/>
                </a:cxn>
                <a:cxn ang="0">
                  <a:pos x="45" y="94"/>
                </a:cxn>
                <a:cxn ang="0">
                  <a:pos x="39" y="98"/>
                </a:cxn>
                <a:cxn ang="0">
                  <a:pos x="31" y="98"/>
                </a:cxn>
                <a:cxn ang="0">
                  <a:pos x="30" y="104"/>
                </a:cxn>
                <a:cxn ang="0">
                  <a:pos x="14" y="104"/>
                </a:cxn>
                <a:cxn ang="0">
                  <a:pos x="5" y="104"/>
                </a:cxn>
                <a:cxn ang="0">
                  <a:pos x="7" y="102"/>
                </a:cxn>
                <a:cxn ang="0">
                  <a:pos x="4" y="96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4" y="90"/>
                </a:cxn>
                <a:cxn ang="0">
                  <a:pos x="15" y="80"/>
                </a:cxn>
                <a:cxn ang="0">
                  <a:pos x="21" y="72"/>
                </a:cxn>
                <a:cxn ang="0">
                  <a:pos x="28" y="68"/>
                </a:cxn>
                <a:cxn ang="0">
                  <a:pos x="29" y="66"/>
                </a:cxn>
              </a:cxnLst>
              <a:rect l="0" t="0" r="r" b="b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2" name="Freeform 24"/>
            <p:cNvSpPr>
              <a:spLocks noEditPoints="1"/>
            </p:cNvSpPr>
            <p:nvPr/>
          </p:nvSpPr>
          <p:spPr bwMode="auto">
            <a:xfrm rot="21439583">
              <a:off x="3976640" y="4919448"/>
              <a:ext cx="296033" cy="664125"/>
            </a:xfrm>
            <a:custGeom>
              <a:avLst/>
              <a:gdLst/>
              <a:ahLst/>
              <a:cxnLst>
                <a:cxn ang="0">
                  <a:pos x="45" y="7"/>
                </a:cxn>
                <a:cxn ang="0">
                  <a:pos x="49" y="13"/>
                </a:cxn>
                <a:cxn ang="0">
                  <a:pos x="51" y="21"/>
                </a:cxn>
                <a:cxn ang="0">
                  <a:pos x="52" y="30"/>
                </a:cxn>
                <a:cxn ang="0">
                  <a:pos x="45" y="33"/>
                </a:cxn>
                <a:cxn ang="0">
                  <a:pos x="38" y="43"/>
                </a:cxn>
                <a:cxn ang="0">
                  <a:pos x="35" y="53"/>
                </a:cxn>
                <a:cxn ang="0">
                  <a:pos x="37" y="64"/>
                </a:cxn>
                <a:cxn ang="0">
                  <a:pos x="43" y="74"/>
                </a:cxn>
                <a:cxn ang="0">
                  <a:pos x="45" y="84"/>
                </a:cxn>
                <a:cxn ang="0">
                  <a:pos x="39" y="97"/>
                </a:cxn>
                <a:cxn ang="0">
                  <a:pos x="33" y="105"/>
                </a:cxn>
                <a:cxn ang="0">
                  <a:pos x="28" y="113"/>
                </a:cxn>
                <a:cxn ang="0">
                  <a:pos x="38" y="124"/>
                </a:cxn>
                <a:cxn ang="0">
                  <a:pos x="38" y="139"/>
                </a:cxn>
                <a:cxn ang="0">
                  <a:pos x="35" y="139"/>
                </a:cxn>
                <a:cxn ang="0">
                  <a:pos x="29" y="139"/>
                </a:cxn>
                <a:cxn ang="0">
                  <a:pos x="24" y="136"/>
                </a:cxn>
                <a:cxn ang="0">
                  <a:pos x="25" y="124"/>
                </a:cxn>
                <a:cxn ang="0">
                  <a:pos x="16" y="122"/>
                </a:cxn>
                <a:cxn ang="0">
                  <a:pos x="5" y="124"/>
                </a:cxn>
                <a:cxn ang="0">
                  <a:pos x="5" y="122"/>
                </a:cxn>
                <a:cxn ang="0">
                  <a:pos x="1" y="115"/>
                </a:cxn>
                <a:cxn ang="0">
                  <a:pos x="8" y="110"/>
                </a:cxn>
                <a:cxn ang="0">
                  <a:pos x="13" y="102"/>
                </a:cxn>
                <a:cxn ang="0">
                  <a:pos x="9" y="95"/>
                </a:cxn>
                <a:cxn ang="0">
                  <a:pos x="4" y="90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4" y="83"/>
                </a:cxn>
                <a:cxn ang="0">
                  <a:pos x="3" y="71"/>
                </a:cxn>
                <a:cxn ang="0">
                  <a:pos x="4" y="64"/>
                </a:cxn>
                <a:cxn ang="0">
                  <a:pos x="7" y="57"/>
                </a:cxn>
                <a:cxn ang="0">
                  <a:pos x="8" y="41"/>
                </a:cxn>
                <a:cxn ang="0">
                  <a:pos x="13" y="38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6" y="2"/>
                </a:cxn>
                <a:cxn ang="0">
                  <a:pos x="22" y="2"/>
                </a:cxn>
                <a:cxn ang="0">
                  <a:pos x="26" y="11"/>
                </a:cxn>
                <a:cxn ang="0">
                  <a:pos x="38" y="10"/>
                </a:cxn>
                <a:cxn ang="0">
                  <a:pos x="45" y="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5" y="124"/>
                </a:cxn>
                <a:cxn ang="0">
                  <a:pos x="6" y="127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41"/>
                </a:cxn>
              </a:cxnLst>
              <a:rect l="0" t="0" r="r" b="b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lnTo>
                    <a:pt x="2" y="84"/>
                  </a:ln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3" name="Freeform 25"/>
            <p:cNvSpPr>
              <a:spLocks noEditPoints="1"/>
            </p:cNvSpPr>
            <p:nvPr/>
          </p:nvSpPr>
          <p:spPr bwMode="auto">
            <a:xfrm rot="21439583">
              <a:off x="4380244" y="5896375"/>
              <a:ext cx="786088" cy="556842"/>
            </a:xfrm>
            <a:custGeom>
              <a:avLst/>
              <a:gdLst/>
              <a:ahLst/>
              <a:cxnLst>
                <a:cxn ang="0">
                  <a:pos x="141" y="53"/>
                </a:cxn>
                <a:cxn ang="0">
                  <a:pos x="131" y="59"/>
                </a:cxn>
                <a:cxn ang="0">
                  <a:pos x="128" y="68"/>
                </a:cxn>
                <a:cxn ang="0">
                  <a:pos x="125" y="78"/>
                </a:cxn>
                <a:cxn ang="0">
                  <a:pos x="117" y="88"/>
                </a:cxn>
                <a:cxn ang="0">
                  <a:pos x="114" y="96"/>
                </a:cxn>
                <a:cxn ang="0">
                  <a:pos x="104" y="105"/>
                </a:cxn>
                <a:cxn ang="0">
                  <a:pos x="91" y="114"/>
                </a:cxn>
                <a:cxn ang="0">
                  <a:pos x="89" y="115"/>
                </a:cxn>
                <a:cxn ang="0">
                  <a:pos x="17" y="108"/>
                </a:cxn>
                <a:cxn ang="0">
                  <a:pos x="20" y="109"/>
                </a:cxn>
                <a:cxn ang="0">
                  <a:pos x="18" y="97"/>
                </a:cxn>
                <a:cxn ang="0">
                  <a:pos x="25" y="94"/>
                </a:cxn>
                <a:cxn ang="0">
                  <a:pos x="27" y="81"/>
                </a:cxn>
                <a:cxn ang="0">
                  <a:pos x="18" y="76"/>
                </a:cxn>
                <a:cxn ang="0">
                  <a:pos x="16" y="68"/>
                </a:cxn>
                <a:cxn ang="0">
                  <a:pos x="8" y="65"/>
                </a:cxn>
                <a:cxn ang="0">
                  <a:pos x="4" y="60"/>
                </a:cxn>
                <a:cxn ang="0">
                  <a:pos x="19" y="56"/>
                </a:cxn>
                <a:cxn ang="0">
                  <a:pos x="4" y="40"/>
                </a:cxn>
                <a:cxn ang="0">
                  <a:pos x="6" y="33"/>
                </a:cxn>
                <a:cxn ang="0">
                  <a:pos x="11" y="27"/>
                </a:cxn>
                <a:cxn ang="0">
                  <a:pos x="12" y="9"/>
                </a:cxn>
                <a:cxn ang="0">
                  <a:pos x="18" y="2"/>
                </a:cxn>
                <a:cxn ang="0">
                  <a:pos x="39" y="1"/>
                </a:cxn>
                <a:cxn ang="0">
                  <a:pos x="40" y="6"/>
                </a:cxn>
                <a:cxn ang="0">
                  <a:pos x="34" y="11"/>
                </a:cxn>
                <a:cxn ang="0">
                  <a:pos x="35" y="20"/>
                </a:cxn>
                <a:cxn ang="0">
                  <a:pos x="41" y="20"/>
                </a:cxn>
                <a:cxn ang="0">
                  <a:pos x="45" y="26"/>
                </a:cxn>
                <a:cxn ang="0">
                  <a:pos x="44" y="32"/>
                </a:cxn>
                <a:cxn ang="0">
                  <a:pos x="53" y="45"/>
                </a:cxn>
                <a:cxn ang="0">
                  <a:pos x="59" y="51"/>
                </a:cxn>
                <a:cxn ang="0">
                  <a:pos x="63" y="57"/>
                </a:cxn>
                <a:cxn ang="0">
                  <a:pos x="71" y="58"/>
                </a:cxn>
                <a:cxn ang="0">
                  <a:pos x="79" y="51"/>
                </a:cxn>
                <a:cxn ang="0">
                  <a:pos x="80" y="44"/>
                </a:cxn>
                <a:cxn ang="0">
                  <a:pos x="86" y="39"/>
                </a:cxn>
                <a:cxn ang="0">
                  <a:pos x="91" y="43"/>
                </a:cxn>
                <a:cxn ang="0">
                  <a:pos x="107" y="40"/>
                </a:cxn>
                <a:cxn ang="0">
                  <a:pos x="111" y="47"/>
                </a:cxn>
                <a:cxn ang="0">
                  <a:pos x="118" y="56"/>
                </a:cxn>
                <a:cxn ang="0">
                  <a:pos x="128" y="53"/>
                </a:cxn>
                <a:cxn ang="0">
                  <a:pos x="141" y="53"/>
                </a:cxn>
                <a:cxn ang="0">
                  <a:pos x="1" y="62"/>
                </a:cxn>
                <a:cxn ang="0">
                  <a:pos x="1" y="62"/>
                </a:cxn>
              </a:cxnLst>
              <a:rect l="0" t="0" r="r" b="b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4" name="Freeform 26"/>
            <p:cNvSpPr>
              <a:spLocks noEditPoints="1"/>
            </p:cNvSpPr>
            <p:nvPr/>
          </p:nvSpPr>
          <p:spPr bwMode="auto">
            <a:xfrm rot="21439583">
              <a:off x="4440373" y="3717130"/>
              <a:ext cx="854096" cy="1064302"/>
            </a:xfrm>
            <a:custGeom>
              <a:avLst/>
              <a:gdLst/>
              <a:ahLst/>
              <a:cxnLst>
                <a:cxn ang="0">
                  <a:pos x="151" y="126"/>
                </a:cxn>
                <a:cxn ang="0">
                  <a:pos x="149" y="137"/>
                </a:cxn>
                <a:cxn ang="0">
                  <a:pos x="140" y="167"/>
                </a:cxn>
                <a:cxn ang="0">
                  <a:pos x="136" y="192"/>
                </a:cxn>
                <a:cxn ang="0">
                  <a:pos x="128" y="209"/>
                </a:cxn>
                <a:cxn ang="0">
                  <a:pos x="95" y="211"/>
                </a:cxn>
                <a:cxn ang="0">
                  <a:pos x="78" y="220"/>
                </a:cxn>
                <a:cxn ang="0">
                  <a:pos x="65" y="215"/>
                </a:cxn>
                <a:cxn ang="0">
                  <a:pos x="55" y="219"/>
                </a:cxn>
                <a:cxn ang="0">
                  <a:pos x="41" y="216"/>
                </a:cxn>
                <a:cxn ang="0">
                  <a:pos x="41" y="201"/>
                </a:cxn>
                <a:cxn ang="0">
                  <a:pos x="39" y="184"/>
                </a:cxn>
                <a:cxn ang="0">
                  <a:pos x="37" y="170"/>
                </a:cxn>
                <a:cxn ang="0">
                  <a:pos x="27" y="153"/>
                </a:cxn>
                <a:cxn ang="0">
                  <a:pos x="26" y="129"/>
                </a:cxn>
                <a:cxn ang="0">
                  <a:pos x="17" y="111"/>
                </a:cxn>
                <a:cxn ang="0">
                  <a:pos x="18" y="89"/>
                </a:cxn>
                <a:cxn ang="0">
                  <a:pos x="14" y="7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19" y="50"/>
                </a:cxn>
                <a:cxn ang="0">
                  <a:pos x="32" y="32"/>
                </a:cxn>
                <a:cxn ang="0">
                  <a:pos x="33" y="41"/>
                </a:cxn>
                <a:cxn ang="0">
                  <a:pos x="48" y="51"/>
                </a:cxn>
                <a:cxn ang="0">
                  <a:pos x="63" y="51"/>
                </a:cxn>
                <a:cxn ang="0">
                  <a:pos x="72" y="18"/>
                </a:cxn>
                <a:cxn ang="0">
                  <a:pos x="94" y="11"/>
                </a:cxn>
                <a:cxn ang="0">
                  <a:pos x="124" y="3"/>
                </a:cxn>
                <a:cxn ang="0">
                  <a:pos x="130" y="3"/>
                </a:cxn>
                <a:cxn ang="0">
                  <a:pos x="143" y="30"/>
                </a:cxn>
                <a:cxn ang="0">
                  <a:pos x="146" y="48"/>
                </a:cxn>
                <a:cxn ang="0">
                  <a:pos x="137" y="59"/>
                </a:cxn>
                <a:cxn ang="0">
                  <a:pos x="140" y="84"/>
                </a:cxn>
                <a:cxn ang="0">
                  <a:pos x="134" y="101"/>
                </a:cxn>
                <a:cxn ang="0">
                  <a:pos x="133" y="123"/>
                </a:cxn>
                <a:cxn ang="0">
                  <a:pos x="130" y="3"/>
                </a:cxn>
                <a:cxn ang="0">
                  <a:pos x="130" y="3"/>
                </a:cxn>
                <a:cxn ang="0">
                  <a:pos x="130" y="1"/>
                </a:cxn>
                <a:cxn ang="0">
                  <a:pos x="130" y="1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28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2" y="46"/>
                </a:cxn>
              </a:cxnLst>
              <a:rect l="0" t="0" r="r" b="b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lnTo>
                    <a:pt x="41" y="216"/>
                  </a:ln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lnTo>
                    <a:pt x="8" y="48"/>
                  </a:ln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lnTo>
                    <a:pt x="130" y="3"/>
                  </a:ln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5" name="Freeform 27"/>
            <p:cNvSpPr>
              <a:spLocks noEditPoints="1"/>
            </p:cNvSpPr>
            <p:nvPr/>
          </p:nvSpPr>
          <p:spPr bwMode="auto">
            <a:xfrm rot="21439583">
              <a:off x="4121880" y="4514989"/>
              <a:ext cx="620069" cy="1168178"/>
            </a:xfrm>
            <a:custGeom>
              <a:avLst/>
              <a:gdLst/>
              <a:ahLst/>
              <a:cxnLst>
                <a:cxn ang="0">
                  <a:pos x="29" y="37"/>
                </a:cxn>
                <a:cxn ang="0">
                  <a:pos x="29" y="57"/>
                </a:cxn>
                <a:cxn ang="0">
                  <a:pos x="29" y="84"/>
                </a:cxn>
                <a:cxn ang="0">
                  <a:pos x="22" y="95"/>
                </a:cxn>
                <a:cxn ang="0">
                  <a:pos x="25" y="112"/>
                </a:cxn>
                <a:cxn ang="0">
                  <a:pos x="11" y="125"/>
                </a:cxn>
                <a:cxn ang="0">
                  <a:pos x="10" y="146"/>
                </a:cxn>
                <a:cxn ang="0">
                  <a:pos x="18" y="166"/>
                </a:cxn>
                <a:cxn ang="0">
                  <a:pos x="6" y="187"/>
                </a:cxn>
                <a:cxn ang="0">
                  <a:pos x="11" y="206"/>
                </a:cxn>
                <a:cxn ang="0">
                  <a:pos x="17" y="223"/>
                </a:cxn>
                <a:cxn ang="0">
                  <a:pos x="21" y="239"/>
                </a:cxn>
                <a:cxn ang="0">
                  <a:pos x="30" y="236"/>
                </a:cxn>
                <a:cxn ang="0">
                  <a:pos x="45" y="226"/>
                </a:cxn>
                <a:cxn ang="0">
                  <a:pos x="60" y="215"/>
                </a:cxn>
                <a:cxn ang="0">
                  <a:pos x="69" y="204"/>
                </a:cxn>
                <a:cxn ang="0">
                  <a:pos x="68" y="195"/>
                </a:cxn>
                <a:cxn ang="0">
                  <a:pos x="57" y="176"/>
                </a:cxn>
                <a:cxn ang="0">
                  <a:pos x="60" y="153"/>
                </a:cxn>
                <a:cxn ang="0">
                  <a:pos x="58" y="127"/>
                </a:cxn>
                <a:cxn ang="0">
                  <a:pos x="76" y="116"/>
                </a:cxn>
                <a:cxn ang="0">
                  <a:pos x="76" y="100"/>
                </a:cxn>
                <a:cxn ang="0">
                  <a:pos x="95" y="96"/>
                </a:cxn>
                <a:cxn ang="0">
                  <a:pos x="109" y="85"/>
                </a:cxn>
                <a:cxn ang="0">
                  <a:pos x="109" y="58"/>
                </a:cxn>
                <a:cxn ang="0">
                  <a:pos x="102" y="47"/>
                </a:cxn>
                <a:cxn ang="0">
                  <a:pos x="92" y="39"/>
                </a:cxn>
                <a:cxn ang="0">
                  <a:pos x="89" y="30"/>
                </a:cxn>
                <a:cxn ang="0">
                  <a:pos x="81" y="13"/>
                </a:cxn>
                <a:cxn ang="0">
                  <a:pos x="72" y="18"/>
                </a:cxn>
                <a:cxn ang="0">
                  <a:pos x="50" y="21"/>
                </a:cxn>
                <a:cxn ang="0">
                  <a:pos x="34" y="1"/>
                </a:cxn>
                <a:cxn ang="0">
                  <a:pos x="18" y="8"/>
                </a:cxn>
                <a:cxn ang="0">
                  <a:pos x="11" y="221"/>
                </a:cxn>
              </a:cxnLst>
              <a:rect l="0" t="0" r="r" b="b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6" name="Freeform 29"/>
            <p:cNvSpPr>
              <a:spLocks noEditPoints="1"/>
            </p:cNvSpPr>
            <p:nvPr/>
          </p:nvSpPr>
          <p:spPr bwMode="auto">
            <a:xfrm rot="21439583">
              <a:off x="4791548" y="5206509"/>
              <a:ext cx="1122126" cy="941695"/>
            </a:xfrm>
            <a:custGeom>
              <a:avLst/>
              <a:gdLst/>
              <a:ahLst/>
              <a:cxnLst>
                <a:cxn ang="0">
                  <a:pos x="178" y="1"/>
                </a:cxn>
                <a:cxn ang="0">
                  <a:pos x="197" y="22"/>
                </a:cxn>
                <a:cxn ang="0">
                  <a:pos x="183" y="36"/>
                </a:cxn>
                <a:cxn ang="0">
                  <a:pos x="178" y="55"/>
                </a:cxn>
                <a:cxn ang="0">
                  <a:pos x="170" y="69"/>
                </a:cxn>
                <a:cxn ang="0">
                  <a:pos x="159" y="90"/>
                </a:cxn>
                <a:cxn ang="0">
                  <a:pos x="152" y="106"/>
                </a:cxn>
                <a:cxn ang="0">
                  <a:pos x="145" y="123"/>
                </a:cxn>
                <a:cxn ang="0">
                  <a:pos x="129" y="138"/>
                </a:cxn>
                <a:cxn ang="0">
                  <a:pos x="104" y="164"/>
                </a:cxn>
                <a:cxn ang="0">
                  <a:pos x="82" y="180"/>
                </a:cxn>
                <a:cxn ang="0">
                  <a:pos x="73" y="185"/>
                </a:cxn>
                <a:cxn ang="0">
                  <a:pos x="63" y="193"/>
                </a:cxn>
                <a:cxn ang="0">
                  <a:pos x="62" y="193"/>
                </a:cxn>
                <a:cxn ang="0">
                  <a:pos x="39" y="196"/>
                </a:cxn>
                <a:cxn ang="0">
                  <a:pos x="28" y="180"/>
                </a:cxn>
                <a:cxn ang="0">
                  <a:pos x="7" y="179"/>
                </a:cxn>
                <a:cxn ang="0">
                  <a:pos x="18" y="174"/>
                </a:cxn>
                <a:cxn ang="0">
                  <a:pos x="27" y="162"/>
                </a:cxn>
                <a:cxn ang="0">
                  <a:pos x="31" y="145"/>
                </a:cxn>
                <a:cxn ang="0">
                  <a:pos x="41" y="130"/>
                </a:cxn>
                <a:cxn ang="0">
                  <a:pos x="52" y="121"/>
                </a:cxn>
                <a:cxn ang="0">
                  <a:pos x="65" y="114"/>
                </a:cxn>
                <a:cxn ang="0">
                  <a:pos x="78" y="110"/>
                </a:cxn>
                <a:cxn ang="0">
                  <a:pos x="95" y="104"/>
                </a:cxn>
                <a:cxn ang="0">
                  <a:pos x="106" y="112"/>
                </a:cxn>
                <a:cxn ang="0">
                  <a:pos x="111" y="100"/>
                </a:cxn>
                <a:cxn ang="0">
                  <a:pos x="116" y="85"/>
                </a:cxn>
                <a:cxn ang="0">
                  <a:pos x="129" y="72"/>
                </a:cxn>
                <a:cxn ang="0">
                  <a:pos x="143" y="57"/>
                </a:cxn>
                <a:cxn ang="0">
                  <a:pos x="153" y="47"/>
                </a:cxn>
                <a:cxn ang="0">
                  <a:pos x="157" y="31"/>
                </a:cxn>
                <a:cxn ang="0">
                  <a:pos x="167" y="14"/>
                </a:cxn>
                <a:cxn ang="0">
                  <a:pos x="177" y="0"/>
                </a:cxn>
                <a:cxn ang="0">
                  <a:pos x="55" y="197"/>
                </a:cxn>
                <a:cxn ang="0">
                  <a:pos x="55" y="197"/>
                </a:cxn>
                <a:cxn ang="0">
                  <a:pos x="55" y="197"/>
                </a:cxn>
              </a:cxnLst>
              <a:rect l="0" t="0" r="r" b="b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7" name="Freeform 32"/>
            <p:cNvSpPr>
              <a:spLocks noEditPoints="1"/>
            </p:cNvSpPr>
            <p:nvPr/>
          </p:nvSpPr>
          <p:spPr bwMode="auto">
            <a:xfrm rot="21439583">
              <a:off x="3883639" y="5462975"/>
              <a:ext cx="1216136" cy="727131"/>
            </a:xfrm>
            <a:custGeom>
              <a:avLst/>
              <a:gdLst/>
              <a:ahLst/>
              <a:cxnLst>
                <a:cxn ang="0">
                  <a:pos x="97" y="121"/>
                </a:cxn>
                <a:cxn ang="0">
                  <a:pos x="104" y="96"/>
                </a:cxn>
                <a:cxn ang="0">
                  <a:pos x="126" y="100"/>
                </a:cxn>
                <a:cxn ang="0">
                  <a:pos x="121" y="114"/>
                </a:cxn>
                <a:cxn ang="0">
                  <a:pos x="131" y="120"/>
                </a:cxn>
                <a:cxn ang="0">
                  <a:pos x="139" y="139"/>
                </a:cxn>
                <a:cxn ang="0">
                  <a:pos x="149" y="151"/>
                </a:cxn>
                <a:cxn ang="0">
                  <a:pos x="165" y="145"/>
                </a:cxn>
                <a:cxn ang="0">
                  <a:pos x="175" y="130"/>
                </a:cxn>
                <a:cxn ang="0">
                  <a:pos x="185" y="121"/>
                </a:cxn>
                <a:cxn ang="0">
                  <a:pos x="196" y="104"/>
                </a:cxn>
                <a:cxn ang="0">
                  <a:pos x="202" y="96"/>
                </a:cxn>
                <a:cxn ang="0">
                  <a:pos x="216" y="83"/>
                </a:cxn>
                <a:cxn ang="0">
                  <a:pos x="209" y="70"/>
                </a:cxn>
                <a:cxn ang="0">
                  <a:pos x="205" y="60"/>
                </a:cxn>
                <a:cxn ang="0">
                  <a:pos x="196" y="63"/>
                </a:cxn>
                <a:cxn ang="0">
                  <a:pos x="198" y="50"/>
                </a:cxn>
                <a:cxn ang="0">
                  <a:pos x="189" y="43"/>
                </a:cxn>
                <a:cxn ang="0">
                  <a:pos x="190" y="53"/>
                </a:cxn>
                <a:cxn ang="0">
                  <a:pos x="184" y="63"/>
                </a:cxn>
                <a:cxn ang="0">
                  <a:pos x="170" y="56"/>
                </a:cxn>
                <a:cxn ang="0">
                  <a:pos x="157" y="63"/>
                </a:cxn>
                <a:cxn ang="0">
                  <a:pos x="142" y="53"/>
                </a:cxn>
                <a:cxn ang="0">
                  <a:pos x="125" y="38"/>
                </a:cxn>
                <a:cxn ang="0">
                  <a:pos x="117" y="3"/>
                </a:cxn>
                <a:cxn ang="0">
                  <a:pos x="108" y="14"/>
                </a:cxn>
                <a:cxn ang="0">
                  <a:pos x="93" y="25"/>
                </a:cxn>
                <a:cxn ang="0">
                  <a:pos x="78" y="35"/>
                </a:cxn>
                <a:cxn ang="0">
                  <a:pos x="69" y="38"/>
                </a:cxn>
                <a:cxn ang="0">
                  <a:pos x="65" y="22"/>
                </a:cxn>
                <a:cxn ang="0">
                  <a:pos x="50" y="20"/>
                </a:cxn>
                <a:cxn ang="0">
                  <a:pos x="46" y="5"/>
                </a:cxn>
                <a:cxn ang="0">
                  <a:pos x="26" y="5"/>
                </a:cxn>
                <a:cxn ang="0">
                  <a:pos x="23" y="18"/>
                </a:cxn>
                <a:cxn ang="0">
                  <a:pos x="15" y="18"/>
                </a:cxn>
                <a:cxn ang="0">
                  <a:pos x="26" y="27"/>
                </a:cxn>
                <a:cxn ang="0">
                  <a:pos x="24" y="35"/>
                </a:cxn>
                <a:cxn ang="0">
                  <a:pos x="33" y="40"/>
                </a:cxn>
                <a:cxn ang="0">
                  <a:pos x="32" y="54"/>
                </a:cxn>
                <a:cxn ang="0">
                  <a:pos x="25" y="64"/>
                </a:cxn>
                <a:cxn ang="0">
                  <a:pos x="16" y="67"/>
                </a:cxn>
                <a:cxn ang="0">
                  <a:pos x="5" y="77"/>
                </a:cxn>
                <a:cxn ang="0">
                  <a:pos x="23" y="93"/>
                </a:cxn>
                <a:cxn ang="0">
                  <a:pos x="40" y="83"/>
                </a:cxn>
                <a:cxn ang="0">
                  <a:pos x="53" y="76"/>
                </a:cxn>
                <a:cxn ang="0">
                  <a:pos x="70" y="67"/>
                </a:cxn>
                <a:cxn ang="0">
                  <a:pos x="67" y="78"/>
                </a:cxn>
                <a:cxn ang="0">
                  <a:pos x="77" y="99"/>
                </a:cxn>
                <a:cxn ang="0">
                  <a:pos x="85" y="115"/>
                </a:cxn>
                <a:cxn ang="0">
                  <a:pos x="91" y="123"/>
                </a:cxn>
                <a:cxn ang="0">
                  <a:pos x="70" y="99"/>
                </a:cxn>
                <a:cxn ang="0">
                  <a:pos x="70" y="99"/>
                </a:cxn>
                <a:cxn ang="0">
                  <a:pos x="70" y="99"/>
                </a:cxn>
              </a:cxnLst>
              <a:rect l="0" t="0" r="r" b="b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8" name="Freeform 39"/>
            <p:cNvSpPr>
              <a:spLocks/>
            </p:cNvSpPr>
            <p:nvPr/>
          </p:nvSpPr>
          <p:spPr bwMode="auto">
            <a:xfrm rot="21439583">
              <a:off x="2304712" y="3906331"/>
              <a:ext cx="814091" cy="1311220"/>
            </a:xfrm>
            <a:custGeom>
              <a:avLst/>
              <a:gdLst/>
              <a:ahLst/>
              <a:cxnLst>
                <a:cxn ang="0">
                  <a:pos x="4" y="241"/>
                </a:cxn>
                <a:cxn ang="0">
                  <a:pos x="4" y="232"/>
                </a:cxn>
                <a:cxn ang="0">
                  <a:pos x="9" y="217"/>
                </a:cxn>
                <a:cxn ang="0">
                  <a:pos x="21" y="213"/>
                </a:cxn>
                <a:cxn ang="0">
                  <a:pos x="19" y="193"/>
                </a:cxn>
                <a:cxn ang="0">
                  <a:pos x="15" y="176"/>
                </a:cxn>
                <a:cxn ang="0">
                  <a:pos x="31" y="167"/>
                </a:cxn>
                <a:cxn ang="0">
                  <a:pos x="37" y="152"/>
                </a:cxn>
                <a:cxn ang="0">
                  <a:pos x="45" y="143"/>
                </a:cxn>
                <a:cxn ang="0">
                  <a:pos x="56" y="148"/>
                </a:cxn>
                <a:cxn ang="0">
                  <a:pos x="64" y="137"/>
                </a:cxn>
                <a:cxn ang="0">
                  <a:pos x="72" y="124"/>
                </a:cxn>
                <a:cxn ang="0">
                  <a:pos x="80" y="116"/>
                </a:cxn>
                <a:cxn ang="0">
                  <a:pos x="79" y="98"/>
                </a:cxn>
                <a:cxn ang="0">
                  <a:pos x="71" y="87"/>
                </a:cxn>
                <a:cxn ang="0">
                  <a:pos x="65" y="79"/>
                </a:cxn>
                <a:cxn ang="0">
                  <a:pos x="75" y="73"/>
                </a:cxn>
                <a:cxn ang="0">
                  <a:pos x="60" y="63"/>
                </a:cxn>
                <a:cxn ang="0">
                  <a:pos x="77" y="40"/>
                </a:cxn>
                <a:cxn ang="0">
                  <a:pos x="90" y="18"/>
                </a:cxn>
                <a:cxn ang="0">
                  <a:pos x="101" y="1"/>
                </a:cxn>
                <a:cxn ang="0">
                  <a:pos x="121" y="5"/>
                </a:cxn>
                <a:cxn ang="0">
                  <a:pos x="138" y="12"/>
                </a:cxn>
                <a:cxn ang="0">
                  <a:pos x="145" y="26"/>
                </a:cxn>
                <a:cxn ang="0">
                  <a:pos x="139" y="53"/>
                </a:cxn>
                <a:cxn ang="0">
                  <a:pos x="135" y="70"/>
                </a:cxn>
                <a:cxn ang="0">
                  <a:pos x="126" y="85"/>
                </a:cxn>
                <a:cxn ang="0">
                  <a:pos x="123" y="104"/>
                </a:cxn>
                <a:cxn ang="0">
                  <a:pos x="120" y="127"/>
                </a:cxn>
                <a:cxn ang="0">
                  <a:pos x="122" y="144"/>
                </a:cxn>
                <a:cxn ang="0">
                  <a:pos x="126" y="160"/>
                </a:cxn>
                <a:cxn ang="0">
                  <a:pos x="126" y="171"/>
                </a:cxn>
                <a:cxn ang="0">
                  <a:pos x="116" y="173"/>
                </a:cxn>
                <a:cxn ang="0">
                  <a:pos x="107" y="175"/>
                </a:cxn>
                <a:cxn ang="0">
                  <a:pos x="94" y="194"/>
                </a:cxn>
                <a:cxn ang="0">
                  <a:pos x="84" y="203"/>
                </a:cxn>
                <a:cxn ang="0">
                  <a:pos x="94" y="217"/>
                </a:cxn>
                <a:cxn ang="0">
                  <a:pos x="98" y="238"/>
                </a:cxn>
                <a:cxn ang="0">
                  <a:pos x="86" y="243"/>
                </a:cxn>
                <a:cxn ang="0">
                  <a:pos x="70" y="232"/>
                </a:cxn>
                <a:cxn ang="0">
                  <a:pos x="75" y="250"/>
                </a:cxn>
                <a:cxn ang="0">
                  <a:pos x="82" y="272"/>
                </a:cxn>
                <a:cxn ang="0">
                  <a:pos x="68" y="270"/>
                </a:cxn>
                <a:cxn ang="0">
                  <a:pos x="56" y="273"/>
                </a:cxn>
                <a:cxn ang="0">
                  <a:pos x="54" y="257"/>
                </a:cxn>
                <a:cxn ang="0">
                  <a:pos x="36" y="255"/>
                </a:cxn>
                <a:cxn ang="0">
                  <a:pos x="26" y="247"/>
                </a:cxn>
                <a:cxn ang="0">
                  <a:pos x="15" y="240"/>
                </a:cxn>
              </a:cxnLst>
              <a:rect l="0" t="0" r="r" b="b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19" name="Freeform 11"/>
            <p:cNvSpPr>
              <a:spLocks/>
            </p:cNvSpPr>
            <p:nvPr/>
          </p:nvSpPr>
          <p:spPr bwMode="auto">
            <a:xfrm rot="21439583">
              <a:off x="4449147" y="1136389"/>
              <a:ext cx="1462164" cy="2828490"/>
            </a:xfrm>
            <a:custGeom>
              <a:avLst/>
              <a:gdLst/>
              <a:ahLst/>
              <a:cxnLst>
                <a:cxn ang="0">
                  <a:pos x="29" y="581"/>
                </a:cxn>
                <a:cxn ang="0">
                  <a:pos x="45" y="592"/>
                </a:cxn>
                <a:cxn ang="0">
                  <a:pos x="64" y="557"/>
                </a:cxn>
                <a:cxn ang="0">
                  <a:pos x="106" y="544"/>
                </a:cxn>
                <a:cxn ang="0">
                  <a:pos x="128" y="538"/>
                </a:cxn>
                <a:cxn ang="0">
                  <a:pos x="134" y="509"/>
                </a:cxn>
                <a:cxn ang="0">
                  <a:pos x="157" y="494"/>
                </a:cxn>
                <a:cxn ang="0">
                  <a:pos x="169" y="522"/>
                </a:cxn>
                <a:cxn ang="0">
                  <a:pos x="184" y="518"/>
                </a:cxn>
                <a:cxn ang="0">
                  <a:pos x="194" y="491"/>
                </a:cxn>
                <a:cxn ang="0">
                  <a:pos x="221" y="472"/>
                </a:cxn>
                <a:cxn ang="0">
                  <a:pos x="224" y="444"/>
                </a:cxn>
                <a:cxn ang="0">
                  <a:pos x="222" y="413"/>
                </a:cxn>
                <a:cxn ang="0">
                  <a:pos x="231" y="389"/>
                </a:cxn>
                <a:cxn ang="0">
                  <a:pos x="237" y="352"/>
                </a:cxn>
                <a:cxn ang="0">
                  <a:pos x="246" y="319"/>
                </a:cxn>
                <a:cxn ang="0">
                  <a:pos x="257" y="289"/>
                </a:cxn>
                <a:cxn ang="0">
                  <a:pos x="255" y="268"/>
                </a:cxn>
                <a:cxn ang="0">
                  <a:pos x="242" y="265"/>
                </a:cxn>
                <a:cxn ang="0">
                  <a:pos x="228" y="243"/>
                </a:cxn>
                <a:cxn ang="0">
                  <a:pos x="215" y="218"/>
                </a:cxn>
                <a:cxn ang="0">
                  <a:pos x="222" y="199"/>
                </a:cxn>
                <a:cxn ang="0">
                  <a:pos x="229" y="170"/>
                </a:cxn>
                <a:cxn ang="0">
                  <a:pos x="213" y="167"/>
                </a:cxn>
                <a:cxn ang="0">
                  <a:pos x="201" y="146"/>
                </a:cxn>
                <a:cxn ang="0">
                  <a:pos x="211" y="131"/>
                </a:cxn>
                <a:cxn ang="0">
                  <a:pos x="203" y="103"/>
                </a:cxn>
                <a:cxn ang="0">
                  <a:pos x="192" y="74"/>
                </a:cxn>
                <a:cxn ang="0">
                  <a:pos x="149" y="62"/>
                </a:cxn>
                <a:cxn ang="0">
                  <a:pos x="157" y="42"/>
                </a:cxn>
                <a:cxn ang="0">
                  <a:pos x="166" y="31"/>
                </a:cxn>
                <a:cxn ang="0">
                  <a:pos x="159" y="7"/>
                </a:cxn>
                <a:cxn ang="0">
                  <a:pos x="147" y="14"/>
                </a:cxn>
                <a:cxn ang="0">
                  <a:pos x="126" y="30"/>
                </a:cxn>
                <a:cxn ang="0">
                  <a:pos x="107" y="40"/>
                </a:cxn>
                <a:cxn ang="0">
                  <a:pos x="89" y="45"/>
                </a:cxn>
                <a:cxn ang="0">
                  <a:pos x="86" y="76"/>
                </a:cxn>
                <a:cxn ang="0">
                  <a:pos x="82" y="90"/>
                </a:cxn>
                <a:cxn ang="0">
                  <a:pos x="70" y="123"/>
                </a:cxn>
                <a:cxn ang="0">
                  <a:pos x="83" y="144"/>
                </a:cxn>
                <a:cxn ang="0">
                  <a:pos x="98" y="163"/>
                </a:cxn>
                <a:cxn ang="0">
                  <a:pos x="79" y="204"/>
                </a:cxn>
                <a:cxn ang="0">
                  <a:pos x="65" y="220"/>
                </a:cxn>
                <a:cxn ang="0">
                  <a:pos x="64" y="239"/>
                </a:cxn>
                <a:cxn ang="0">
                  <a:pos x="38" y="248"/>
                </a:cxn>
                <a:cxn ang="0">
                  <a:pos x="15" y="263"/>
                </a:cxn>
                <a:cxn ang="0">
                  <a:pos x="18" y="289"/>
                </a:cxn>
                <a:cxn ang="0">
                  <a:pos x="0" y="315"/>
                </a:cxn>
                <a:cxn ang="0">
                  <a:pos x="6" y="346"/>
                </a:cxn>
                <a:cxn ang="0">
                  <a:pos x="45" y="368"/>
                </a:cxn>
                <a:cxn ang="0">
                  <a:pos x="40" y="392"/>
                </a:cxn>
                <a:cxn ang="0">
                  <a:pos x="22" y="405"/>
                </a:cxn>
                <a:cxn ang="0">
                  <a:pos x="33" y="433"/>
                </a:cxn>
                <a:cxn ang="0">
                  <a:pos x="36" y="468"/>
                </a:cxn>
                <a:cxn ang="0">
                  <a:pos x="16" y="493"/>
                </a:cxn>
                <a:cxn ang="0">
                  <a:pos x="5" y="508"/>
                </a:cxn>
                <a:cxn ang="0">
                  <a:pos x="13" y="523"/>
                </a:cxn>
                <a:cxn ang="0">
                  <a:pos x="9" y="554"/>
                </a:cxn>
                <a:cxn ang="0">
                  <a:pos x="8" y="572"/>
                </a:cxn>
              </a:cxnLst>
              <a:rect l="0" t="0" r="r" b="b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20" name="Freeform 31"/>
            <p:cNvSpPr>
              <a:spLocks noEditPoints="1"/>
            </p:cNvSpPr>
            <p:nvPr/>
          </p:nvSpPr>
          <p:spPr bwMode="auto">
            <a:xfrm rot="21439583">
              <a:off x="4403944" y="4657553"/>
              <a:ext cx="832093" cy="926369"/>
            </a:xfrm>
            <a:custGeom>
              <a:avLst/>
              <a:gdLst/>
              <a:ahLst/>
              <a:cxnLst>
                <a:cxn ang="0">
                  <a:pos x="69" y="21"/>
                </a:cxn>
                <a:cxn ang="0">
                  <a:pos x="79" y="17"/>
                </a:cxn>
                <a:cxn ang="0">
                  <a:pos x="92" y="22"/>
                </a:cxn>
                <a:cxn ang="0">
                  <a:pos x="109" y="13"/>
                </a:cxn>
                <a:cxn ang="0">
                  <a:pos x="137" y="12"/>
                </a:cxn>
                <a:cxn ang="0">
                  <a:pos x="144" y="26"/>
                </a:cxn>
                <a:cxn ang="0">
                  <a:pos x="148" y="33"/>
                </a:cxn>
                <a:cxn ang="0">
                  <a:pos x="144" y="39"/>
                </a:cxn>
                <a:cxn ang="0">
                  <a:pos x="140" y="56"/>
                </a:cxn>
                <a:cxn ang="0">
                  <a:pos x="142" y="65"/>
                </a:cxn>
                <a:cxn ang="0">
                  <a:pos x="143" y="79"/>
                </a:cxn>
                <a:cxn ang="0">
                  <a:pos x="138" y="91"/>
                </a:cxn>
                <a:cxn ang="0">
                  <a:pos x="131" y="94"/>
                </a:cxn>
                <a:cxn ang="0">
                  <a:pos x="116" y="99"/>
                </a:cxn>
                <a:cxn ang="0">
                  <a:pos x="107" y="114"/>
                </a:cxn>
                <a:cxn ang="0">
                  <a:pos x="105" y="124"/>
                </a:cxn>
                <a:cxn ang="0">
                  <a:pos x="99" y="132"/>
                </a:cxn>
                <a:cxn ang="0">
                  <a:pos x="89" y="126"/>
                </a:cxn>
                <a:cxn ang="0">
                  <a:pos x="80" y="133"/>
                </a:cxn>
                <a:cxn ang="0">
                  <a:pos x="70" y="149"/>
                </a:cxn>
                <a:cxn ang="0">
                  <a:pos x="56" y="155"/>
                </a:cxn>
                <a:cxn ang="0">
                  <a:pos x="51" y="170"/>
                </a:cxn>
                <a:cxn ang="0">
                  <a:pos x="58" y="187"/>
                </a:cxn>
                <a:cxn ang="0">
                  <a:pos x="40" y="188"/>
                </a:cxn>
                <a:cxn ang="0">
                  <a:pos x="26" y="195"/>
                </a:cxn>
                <a:cxn ang="0">
                  <a:pos x="19" y="171"/>
                </a:cxn>
                <a:cxn ang="0">
                  <a:pos x="11" y="151"/>
                </a:cxn>
                <a:cxn ang="0">
                  <a:pos x="1" y="126"/>
                </a:cxn>
                <a:cxn ang="0">
                  <a:pos x="6" y="106"/>
                </a:cxn>
                <a:cxn ang="0">
                  <a:pos x="13" y="90"/>
                </a:cxn>
                <a:cxn ang="0">
                  <a:pos x="24" y="74"/>
                </a:cxn>
                <a:cxn ang="0">
                  <a:pos x="30" y="61"/>
                </a:cxn>
                <a:cxn ang="0">
                  <a:pos x="49" y="58"/>
                </a:cxn>
                <a:cxn ang="0">
                  <a:pos x="56" y="33"/>
                </a:cxn>
                <a:cxn ang="0">
                  <a:pos x="56" y="18"/>
                </a:cxn>
                <a:cxn ang="0">
                  <a:pos x="18" y="170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3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21" name="Freeform 30"/>
            <p:cNvSpPr>
              <a:spLocks/>
            </p:cNvSpPr>
            <p:nvPr/>
          </p:nvSpPr>
          <p:spPr bwMode="auto">
            <a:xfrm rot="21439583">
              <a:off x="5140641" y="3925140"/>
              <a:ext cx="888099" cy="1265243"/>
            </a:xfrm>
            <a:custGeom>
              <a:avLst/>
              <a:gdLst/>
              <a:ahLst/>
              <a:cxnLst>
                <a:cxn ang="0">
                  <a:pos x="151" y="77"/>
                </a:cxn>
                <a:cxn ang="0">
                  <a:pos x="130" y="81"/>
                </a:cxn>
                <a:cxn ang="0">
                  <a:pos x="115" y="86"/>
                </a:cxn>
                <a:cxn ang="0">
                  <a:pos x="99" y="93"/>
                </a:cxn>
                <a:cxn ang="0">
                  <a:pos x="94" y="107"/>
                </a:cxn>
                <a:cxn ang="0">
                  <a:pos x="101" y="125"/>
                </a:cxn>
                <a:cxn ang="0">
                  <a:pos x="114" y="135"/>
                </a:cxn>
                <a:cxn ang="0">
                  <a:pos x="110" y="154"/>
                </a:cxn>
                <a:cxn ang="0">
                  <a:pos x="103" y="175"/>
                </a:cxn>
                <a:cxn ang="0">
                  <a:pos x="102" y="206"/>
                </a:cxn>
                <a:cxn ang="0">
                  <a:pos x="108" y="231"/>
                </a:cxn>
                <a:cxn ang="0">
                  <a:pos x="108" y="243"/>
                </a:cxn>
                <a:cxn ang="0">
                  <a:pos x="107" y="266"/>
                </a:cxn>
                <a:cxn ang="0">
                  <a:pos x="94" y="257"/>
                </a:cxn>
                <a:cxn ang="0">
                  <a:pos x="82" y="239"/>
                </a:cxn>
                <a:cxn ang="0">
                  <a:pos x="68" y="239"/>
                </a:cxn>
                <a:cxn ang="0">
                  <a:pos x="58" y="244"/>
                </a:cxn>
                <a:cxn ang="0">
                  <a:pos x="45" y="237"/>
                </a:cxn>
                <a:cxn ang="0">
                  <a:pos x="36" y="244"/>
                </a:cxn>
                <a:cxn ang="0">
                  <a:pos x="19" y="246"/>
                </a:cxn>
                <a:cxn ang="0">
                  <a:pos x="4" y="244"/>
                </a:cxn>
                <a:cxn ang="0">
                  <a:pos x="1" y="229"/>
                </a:cxn>
                <a:cxn ang="0">
                  <a:pos x="8" y="220"/>
                </a:cxn>
                <a:cxn ang="0">
                  <a:pos x="1" y="209"/>
                </a:cxn>
                <a:cxn ang="0">
                  <a:pos x="7" y="199"/>
                </a:cxn>
                <a:cxn ang="0">
                  <a:pos x="11" y="185"/>
                </a:cxn>
                <a:cxn ang="0">
                  <a:pos x="7" y="179"/>
                </a:cxn>
                <a:cxn ang="0">
                  <a:pos x="5" y="166"/>
                </a:cxn>
                <a:cxn ang="0">
                  <a:pos x="5" y="159"/>
                </a:cxn>
                <a:cxn ang="0">
                  <a:pos x="13" y="142"/>
                </a:cxn>
                <a:cxn ang="0">
                  <a:pos x="17" y="117"/>
                </a:cxn>
                <a:cxn ang="0">
                  <a:pos x="26" y="87"/>
                </a:cxn>
                <a:cxn ang="0">
                  <a:pos x="28" y="76"/>
                </a:cxn>
                <a:cxn ang="0">
                  <a:pos x="23" y="71"/>
                </a:cxn>
                <a:cxn ang="0">
                  <a:pos x="47" y="53"/>
                </a:cxn>
                <a:cxn ang="0">
                  <a:pos x="61" y="46"/>
                </a:cxn>
                <a:cxn ang="0">
                  <a:pos x="76" y="14"/>
                </a:cxn>
                <a:cxn ang="0">
                  <a:pos x="103" y="11"/>
                </a:cxn>
                <a:cxn ang="0">
                  <a:pos x="112" y="46"/>
                </a:cxn>
                <a:cxn ang="0">
                  <a:pos x="130" y="51"/>
                </a:cxn>
                <a:cxn ang="0">
                  <a:pos x="156" y="63"/>
                </a:cxn>
              </a:cxnLst>
              <a:rect l="0" t="0" r="r" b="b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22" name="Freeform 28"/>
            <p:cNvSpPr>
              <a:spLocks noEditPoints="1"/>
            </p:cNvSpPr>
            <p:nvPr/>
          </p:nvSpPr>
          <p:spPr bwMode="auto">
            <a:xfrm rot="21439583">
              <a:off x="4551519" y="5058292"/>
              <a:ext cx="1228136" cy="732240"/>
            </a:xfrm>
            <a:custGeom>
              <a:avLst/>
              <a:gdLst/>
              <a:ahLst/>
              <a:cxnLst>
                <a:cxn ang="0">
                  <a:pos x="16" y="101"/>
                </a:cxn>
                <a:cxn ang="0">
                  <a:pos x="34" y="100"/>
                </a:cxn>
                <a:cxn ang="0">
                  <a:pos x="27" y="83"/>
                </a:cxn>
                <a:cxn ang="0">
                  <a:pos x="32" y="68"/>
                </a:cxn>
                <a:cxn ang="0">
                  <a:pos x="46" y="62"/>
                </a:cxn>
                <a:cxn ang="0">
                  <a:pos x="56" y="46"/>
                </a:cxn>
                <a:cxn ang="0">
                  <a:pos x="65" y="39"/>
                </a:cxn>
                <a:cxn ang="0">
                  <a:pos x="75" y="45"/>
                </a:cxn>
                <a:cxn ang="0">
                  <a:pos x="81" y="37"/>
                </a:cxn>
                <a:cxn ang="0">
                  <a:pos x="83" y="27"/>
                </a:cxn>
                <a:cxn ang="0">
                  <a:pos x="92" y="12"/>
                </a:cxn>
                <a:cxn ang="0">
                  <a:pos x="107" y="7"/>
                </a:cxn>
                <a:cxn ang="0">
                  <a:pos x="117" y="9"/>
                </a:cxn>
                <a:cxn ang="0">
                  <a:pos x="132" y="11"/>
                </a:cxn>
                <a:cxn ang="0">
                  <a:pos x="149" y="9"/>
                </a:cxn>
                <a:cxn ang="0">
                  <a:pos x="158" y="2"/>
                </a:cxn>
                <a:cxn ang="0">
                  <a:pos x="171" y="9"/>
                </a:cxn>
                <a:cxn ang="0">
                  <a:pos x="181" y="4"/>
                </a:cxn>
                <a:cxn ang="0">
                  <a:pos x="195" y="4"/>
                </a:cxn>
                <a:cxn ang="0">
                  <a:pos x="207" y="22"/>
                </a:cxn>
                <a:cxn ang="0">
                  <a:pos x="220" y="31"/>
                </a:cxn>
                <a:cxn ang="0">
                  <a:pos x="211" y="37"/>
                </a:cxn>
                <a:cxn ang="0">
                  <a:pos x="208" y="59"/>
                </a:cxn>
                <a:cxn ang="0">
                  <a:pos x="199" y="77"/>
                </a:cxn>
                <a:cxn ang="0">
                  <a:pos x="192" y="89"/>
                </a:cxn>
                <a:cxn ang="0">
                  <a:pos x="180" y="98"/>
                </a:cxn>
                <a:cxn ang="0">
                  <a:pos x="163" y="110"/>
                </a:cxn>
                <a:cxn ang="0">
                  <a:pos x="157" y="133"/>
                </a:cxn>
                <a:cxn ang="0">
                  <a:pos x="148" y="137"/>
                </a:cxn>
                <a:cxn ang="0">
                  <a:pos x="140" y="143"/>
                </a:cxn>
                <a:cxn ang="0">
                  <a:pos x="130" y="136"/>
                </a:cxn>
                <a:cxn ang="0">
                  <a:pos x="114" y="149"/>
                </a:cxn>
                <a:cxn ang="0">
                  <a:pos x="101" y="154"/>
                </a:cxn>
                <a:cxn ang="0">
                  <a:pos x="85" y="149"/>
                </a:cxn>
                <a:cxn ang="0">
                  <a:pos x="81" y="139"/>
                </a:cxn>
                <a:cxn ang="0">
                  <a:pos x="72" y="142"/>
                </a:cxn>
                <a:cxn ang="0">
                  <a:pos x="74" y="129"/>
                </a:cxn>
                <a:cxn ang="0">
                  <a:pos x="65" y="122"/>
                </a:cxn>
                <a:cxn ang="0">
                  <a:pos x="66" y="132"/>
                </a:cxn>
                <a:cxn ang="0">
                  <a:pos x="60" y="142"/>
                </a:cxn>
                <a:cxn ang="0">
                  <a:pos x="46" y="135"/>
                </a:cxn>
                <a:cxn ang="0">
                  <a:pos x="33" y="142"/>
                </a:cxn>
                <a:cxn ang="0">
                  <a:pos x="18" y="132"/>
                </a:cxn>
                <a:cxn ang="0">
                  <a:pos x="1" y="117"/>
                </a:cxn>
                <a:cxn ang="0">
                  <a:pos x="114" y="4"/>
                </a:cxn>
                <a:cxn ang="0">
                  <a:pos x="114" y="4"/>
                </a:cxn>
                <a:cxn ang="0">
                  <a:pos x="114" y="5"/>
                </a:cxn>
              </a:cxnLst>
              <a:rect l="0" t="0" r="r" b="b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23" name="Freeform 17"/>
            <p:cNvSpPr>
              <a:spLocks/>
            </p:cNvSpPr>
            <p:nvPr/>
          </p:nvSpPr>
          <p:spPr bwMode="auto">
            <a:xfrm rot="21439583">
              <a:off x="4205241" y="6107695"/>
              <a:ext cx="292032" cy="146448"/>
            </a:xfrm>
            <a:custGeom>
              <a:avLst/>
              <a:gdLst/>
              <a:ahLst/>
              <a:cxnLst>
                <a:cxn ang="0">
                  <a:pos x="20" y="31"/>
                </a:cxn>
                <a:cxn ang="0">
                  <a:pos x="27" y="28"/>
                </a:cxn>
                <a:cxn ang="0">
                  <a:pos x="34" y="21"/>
                </a:cxn>
                <a:cxn ang="0">
                  <a:pos x="51" y="16"/>
                </a:cxn>
                <a:cxn ang="0">
                  <a:pos x="36" y="0"/>
                </a:cxn>
                <a:cxn ang="0">
                  <a:pos x="30" y="10"/>
                </a:cxn>
                <a:cxn ang="0">
                  <a:pos x="23" y="12"/>
                </a:cxn>
                <a:cxn ang="0">
                  <a:pos x="14" y="15"/>
                </a:cxn>
                <a:cxn ang="0">
                  <a:pos x="5" y="19"/>
                </a:cxn>
                <a:cxn ang="0">
                  <a:pos x="3" y="25"/>
                </a:cxn>
                <a:cxn ang="0">
                  <a:pos x="20" y="25"/>
                </a:cxn>
                <a:cxn ang="0">
                  <a:pos x="20" y="31"/>
                </a:cxn>
              </a:cxnLst>
              <a:rect l="0" t="0" r="r" b="b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24" name="Freeform 22"/>
            <p:cNvSpPr>
              <a:spLocks/>
            </p:cNvSpPr>
            <p:nvPr/>
          </p:nvSpPr>
          <p:spPr bwMode="auto">
            <a:xfrm rot="21439583">
              <a:off x="4012980" y="3893632"/>
              <a:ext cx="682076" cy="88379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95" y="46"/>
                </a:cxn>
                <a:cxn ang="0">
                  <a:pos x="93" y="68"/>
                </a:cxn>
                <a:cxn ang="0">
                  <a:pos x="96" y="88"/>
                </a:cxn>
                <a:cxn ang="0">
                  <a:pos x="107" y="108"/>
                </a:cxn>
                <a:cxn ang="0">
                  <a:pos x="111" y="130"/>
                </a:cxn>
                <a:cxn ang="0">
                  <a:pos x="112" y="146"/>
                </a:cxn>
                <a:cxn ang="0">
                  <a:pos x="115" y="162"/>
                </a:cxn>
                <a:cxn ang="0">
                  <a:pos x="120" y="183"/>
                </a:cxn>
                <a:cxn ang="0">
                  <a:pos x="104" y="178"/>
                </a:cxn>
                <a:cxn ang="0">
                  <a:pos x="109" y="165"/>
                </a:cxn>
                <a:cxn ang="0">
                  <a:pos x="97" y="155"/>
                </a:cxn>
                <a:cxn ang="0">
                  <a:pos x="88" y="145"/>
                </a:cxn>
                <a:cxn ang="0">
                  <a:pos x="77" y="153"/>
                </a:cxn>
                <a:cxn ang="0">
                  <a:pos x="49" y="139"/>
                </a:cxn>
                <a:cxn ang="0">
                  <a:pos x="37" y="133"/>
                </a:cxn>
                <a:cxn ang="0">
                  <a:pos x="27" y="148"/>
                </a:cxn>
                <a:cxn ang="0">
                  <a:pos x="7" y="147"/>
                </a:cxn>
                <a:cxn ang="0">
                  <a:pos x="10" y="115"/>
                </a:cxn>
                <a:cxn ang="0">
                  <a:pos x="2" y="101"/>
                </a:cxn>
                <a:cxn ang="0">
                  <a:pos x="3" y="82"/>
                </a:cxn>
                <a:cxn ang="0">
                  <a:pos x="9" y="70"/>
                </a:cxn>
                <a:cxn ang="0">
                  <a:pos x="9" y="54"/>
                </a:cxn>
                <a:cxn ang="0">
                  <a:pos x="11" y="44"/>
                </a:cxn>
                <a:cxn ang="0">
                  <a:pos x="1" y="31"/>
                </a:cxn>
                <a:cxn ang="0">
                  <a:pos x="6" y="17"/>
                </a:cxn>
                <a:cxn ang="0">
                  <a:pos x="16" y="26"/>
                </a:cxn>
                <a:cxn ang="0">
                  <a:pos x="27" y="40"/>
                </a:cxn>
                <a:cxn ang="0">
                  <a:pos x="39" y="28"/>
                </a:cxn>
                <a:cxn ang="0">
                  <a:pos x="53" y="16"/>
                </a:cxn>
                <a:cxn ang="0">
                  <a:pos x="64" y="3"/>
                </a:cxn>
                <a:cxn ang="0">
                  <a:pos x="78" y="13"/>
                </a:cxn>
              </a:cxnLst>
              <a:rect l="0" t="0" r="r" b="b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25" name="Freeform 10"/>
            <p:cNvSpPr>
              <a:spLocks noEditPoints="1"/>
            </p:cNvSpPr>
            <p:nvPr/>
          </p:nvSpPr>
          <p:spPr bwMode="auto">
            <a:xfrm rot="21439583">
              <a:off x="3442545" y="3294429"/>
              <a:ext cx="1168131" cy="1103469"/>
            </a:xfrm>
            <a:custGeom>
              <a:avLst/>
              <a:gdLst/>
              <a:ahLst/>
              <a:cxnLst>
                <a:cxn ang="0">
                  <a:pos x="194" y="133"/>
                </a:cxn>
                <a:cxn ang="0">
                  <a:pos x="187" y="148"/>
                </a:cxn>
                <a:cxn ang="0">
                  <a:pos x="175" y="142"/>
                </a:cxn>
                <a:cxn ang="0">
                  <a:pos x="161" y="132"/>
                </a:cxn>
                <a:cxn ang="0">
                  <a:pos x="150" y="145"/>
                </a:cxn>
                <a:cxn ang="0">
                  <a:pos x="136" y="157"/>
                </a:cxn>
                <a:cxn ang="0">
                  <a:pos x="124" y="169"/>
                </a:cxn>
                <a:cxn ang="0">
                  <a:pos x="113" y="155"/>
                </a:cxn>
                <a:cxn ang="0">
                  <a:pos x="103" y="146"/>
                </a:cxn>
                <a:cxn ang="0">
                  <a:pos x="98" y="160"/>
                </a:cxn>
                <a:cxn ang="0">
                  <a:pos x="108" y="173"/>
                </a:cxn>
                <a:cxn ang="0">
                  <a:pos x="106" y="183"/>
                </a:cxn>
                <a:cxn ang="0">
                  <a:pos x="106" y="199"/>
                </a:cxn>
                <a:cxn ang="0">
                  <a:pos x="100" y="211"/>
                </a:cxn>
                <a:cxn ang="0">
                  <a:pos x="80" y="227"/>
                </a:cxn>
                <a:cxn ang="0">
                  <a:pos x="57" y="214"/>
                </a:cxn>
                <a:cxn ang="0">
                  <a:pos x="38" y="216"/>
                </a:cxn>
                <a:cxn ang="0">
                  <a:pos x="14" y="212"/>
                </a:cxn>
                <a:cxn ang="0">
                  <a:pos x="2" y="210"/>
                </a:cxn>
                <a:cxn ang="0">
                  <a:pos x="14" y="192"/>
                </a:cxn>
                <a:cxn ang="0">
                  <a:pos x="11" y="176"/>
                </a:cxn>
                <a:cxn ang="0">
                  <a:pos x="15" y="163"/>
                </a:cxn>
                <a:cxn ang="0">
                  <a:pos x="25" y="160"/>
                </a:cxn>
                <a:cxn ang="0">
                  <a:pos x="20" y="148"/>
                </a:cxn>
                <a:cxn ang="0">
                  <a:pos x="27" y="122"/>
                </a:cxn>
                <a:cxn ang="0">
                  <a:pos x="35" y="101"/>
                </a:cxn>
                <a:cxn ang="0">
                  <a:pos x="53" y="93"/>
                </a:cxn>
                <a:cxn ang="0">
                  <a:pos x="67" y="75"/>
                </a:cxn>
                <a:cxn ang="0">
                  <a:pos x="83" y="71"/>
                </a:cxn>
                <a:cxn ang="0">
                  <a:pos x="95" y="58"/>
                </a:cxn>
                <a:cxn ang="0">
                  <a:pos x="106" y="49"/>
                </a:cxn>
                <a:cxn ang="0">
                  <a:pos x="97" y="30"/>
                </a:cxn>
                <a:cxn ang="0">
                  <a:pos x="103" y="12"/>
                </a:cxn>
                <a:cxn ang="0">
                  <a:pos x="122" y="2"/>
                </a:cxn>
                <a:cxn ang="0">
                  <a:pos x="130" y="6"/>
                </a:cxn>
                <a:cxn ang="0">
                  <a:pos x="139" y="22"/>
                </a:cxn>
                <a:cxn ang="0">
                  <a:pos x="148" y="31"/>
                </a:cxn>
                <a:cxn ang="0">
                  <a:pos x="165" y="40"/>
                </a:cxn>
                <a:cxn ang="0">
                  <a:pos x="170" y="51"/>
                </a:cxn>
                <a:cxn ang="0">
                  <a:pos x="188" y="52"/>
                </a:cxn>
                <a:cxn ang="0">
                  <a:pos x="196" y="65"/>
                </a:cxn>
                <a:cxn ang="0">
                  <a:pos x="198" y="73"/>
                </a:cxn>
                <a:cxn ang="0">
                  <a:pos x="208" y="85"/>
                </a:cxn>
                <a:cxn ang="0">
                  <a:pos x="202" y="110"/>
                </a:cxn>
                <a:cxn ang="0">
                  <a:pos x="201" y="122"/>
                </a:cxn>
                <a:cxn ang="0">
                  <a:pos x="207" y="129"/>
                </a:cxn>
                <a:cxn ang="0">
                  <a:pos x="197" y="65"/>
                </a:cxn>
                <a:cxn ang="0">
                  <a:pos x="197" y="65"/>
                </a:cxn>
                <a:cxn ang="0">
                  <a:pos x="197" y="65"/>
                </a:cxn>
              </a:cxnLst>
              <a:rect l="0" t="0" r="r" b="b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26" name="Freeform 23"/>
            <p:cNvSpPr>
              <a:spLocks noEditPoints="1"/>
            </p:cNvSpPr>
            <p:nvPr/>
          </p:nvSpPr>
          <p:spPr bwMode="auto">
            <a:xfrm rot="21439583">
              <a:off x="3245095" y="4307373"/>
              <a:ext cx="1026113" cy="822492"/>
            </a:xfrm>
            <a:custGeom>
              <a:avLst/>
              <a:gdLst/>
              <a:ahLst/>
              <a:cxnLst>
                <a:cxn ang="0">
                  <a:pos x="151" y="33"/>
                </a:cxn>
                <a:cxn ang="0">
                  <a:pos x="157" y="70"/>
                </a:cxn>
                <a:cxn ang="0">
                  <a:pos x="182" y="86"/>
                </a:cxn>
                <a:cxn ang="0">
                  <a:pos x="182" y="120"/>
                </a:cxn>
                <a:cxn ang="0">
                  <a:pos x="152" y="142"/>
                </a:cxn>
                <a:cxn ang="0">
                  <a:pos x="144" y="144"/>
                </a:cxn>
                <a:cxn ang="0">
                  <a:pos x="132" y="171"/>
                </a:cxn>
                <a:cxn ang="0">
                  <a:pos x="111" y="150"/>
                </a:cxn>
                <a:cxn ang="0">
                  <a:pos x="82" y="160"/>
                </a:cxn>
                <a:cxn ang="0">
                  <a:pos x="61" y="164"/>
                </a:cxn>
                <a:cxn ang="0">
                  <a:pos x="4" y="157"/>
                </a:cxn>
                <a:cxn ang="0">
                  <a:pos x="16" y="132"/>
                </a:cxn>
                <a:cxn ang="0">
                  <a:pos x="19" y="102"/>
                </a:cxn>
                <a:cxn ang="0">
                  <a:pos x="47" y="93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9" y="55"/>
                </a:cxn>
                <a:cxn ang="0">
                  <a:pos x="34" y="46"/>
                </a:cxn>
                <a:cxn ang="0">
                  <a:pos x="22" y="17"/>
                </a:cxn>
                <a:cxn ang="0">
                  <a:pos x="46" y="2"/>
                </a:cxn>
                <a:cxn ang="0">
                  <a:pos x="58" y="1"/>
                </a:cxn>
                <a:cxn ang="0">
                  <a:pos x="91" y="0"/>
                </a:cxn>
                <a:cxn ang="0">
                  <a:pos x="124" y="16"/>
                </a:cxn>
                <a:cxn ang="0">
                  <a:pos x="1" y="112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</a:cxnLst>
              <a:rect l="0" t="0" r="r" b="b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lnTo>
                    <a:pt x="46" y="2"/>
                  </a:ln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98" name="Параллелограмм 97"/>
          <p:cNvSpPr/>
          <p:nvPr/>
        </p:nvSpPr>
        <p:spPr>
          <a:xfrm>
            <a:off x="5219700" y="66527"/>
            <a:ext cx="3924300" cy="288925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4" name="Параллелограмм 103"/>
          <p:cNvSpPr/>
          <p:nvPr/>
        </p:nvSpPr>
        <p:spPr>
          <a:xfrm>
            <a:off x="1368425" y="66527"/>
            <a:ext cx="3924300" cy="288925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94" name="TextBox 25"/>
          <p:cNvSpPr txBox="1">
            <a:spLocks noChangeArrowheads="1"/>
          </p:cNvSpPr>
          <p:nvPr/>
        </p:nvSpPr>
        <p:spPr bwMode="auto">
          <a:xfrm>
            <a:off x="-327910" y="89201"/>
            <a:ext cx="8788342" cy="31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72" tIns="34286" rIns="68572" bIns="34286">
            <a:spAutoFit/>
          </a:bodyPr>
          <a:lstStyle/>
          <a:p>
            <a:pPr lvl="1"/>
            <a:r>
              <a:rPr lang="ru-RU" sz="1600" b="1" dirty="0" smtClean="0">
                <a:solidFill>
                  <a:prstClr val="black"/>
                </a:solidFill>
              </a:rPr>
              <a:t>ПРИОРИТЕТЫ ДЕЯТЕЛЬНОСТИ ПО ПОДДЕРЖКЕ И РАЗВИТИЮ НЕКОММЕРЧЕСКОГО СЕКТОРА</a:t>
            </a:r>
            <a:endParaRPr lang="ru-RU" sz="1600" b="1" dirty="0">
              <a:solidFill>
                <a:prstClr val="black"/>
              </a:solidFill>
            </a:endParaRPr>
          </a:p>
        </p:txBody>
      </p:sp>
      <p:cxnSp>
        <p:nvCxnSpPr>
          <p:cNvPr id="95" name="Прямая соединительная линия 94"/>
          <p:cNvCxnSpPr/>
          <p:nvPr/>
        </p:nvCxnSpPr>
        <p:spPr>
          <a:xfrm>
            <a:off x="250825" y="404664"/>
            <a:ext cx="8785225" cy="0"/>
          </a:xfrm>
          <a:prstGeom prst="line">
            <a:avLst/>
          </a:prstGeom>
          <a:ln w="158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24946" y="3438034"/>
            <a:ext cx="8697317" cy="490070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Региональное законодательство в сфере обеспечения доступа СОНКО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к бюджетным средствам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grpSp>
        <p:nvGrpSpPr>
          <p:cNvPr id="143" name="Группа 142"/>
          <p:cNvGrpSpPr/>
          <p:nvPr/>
        </p:nvGrpSpPr>
        <p:grpSpPr>
          <a:xfrm>
            <a:off x="263283" y="4196737"/>
            <a:ext cx="8701205" cy="1248487"/>
            <a:chOff x="-3430855" y="3255831"/>
            <a:chExt cx="10574496" cy="1316732"/>
          </a:xfrm>
          <a:solidFill>
            <a:schemeClr val="accent5">
              <a:lumMod val="75000"/>
            </a:schemeClr>
          </a:solidFill>
          <a:effectLst/>
        </p:grpSpPr>
        <p:sp>
          <p:nvSpPr>
            <p:cNvPr id="144" name="Скругленный прямоугольник 143"/>
            <p:cNvSpPr/>
            <p:nvPr/>
          </p:nvSpPr>
          <p:spPr>
            <a:xfrm>
              <a:off x="-3430855" y="3255831"/>
              <a:ext cx="10574496" cy="1316732"/>
            </a:xfrm>
            <a:prstGeom prst="roundRect">
              <a:avLst>
                <a:gd name="adj" fmla="val 10000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</p:sp>
        <p:sp>
          <p:nvSpPr>
            <p:cNvPr id="145" name="Скругленный прямоугольник 4"/>
            <p:cNvSpPr/>
            <p:nvPr/>
          </p:nvSpPr>
          <p:spPr>
            <a:xfrm>
              <a:off x="-3299757" y="3277914"/>
              <a:ext cx="10360218" cy="1294649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0" tIns="0" rIns="0" bIns="0" numCol="1" spcCol="1270" anchor="ctr" anchorCtr="1">
              <a:noAutofit/>
            </a:bodyPr>
            <a:lstStyle/>
            <a:p>
              <a:pPr marL="90488" marR="0" lvl="0" indent="180975" algn="ctr" defTabSz="533400" eaLnBrk="1" fontAlgn="auto" latinLnBrk="0" hangingPunct="1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Распоряжением  Правительства Иркутской области от 12.01.2017 года №8-рп утвержден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Комплексный план мероприятий по обеспечению поэтапного доступа СОНКО, осуществляющих деятельность в социальной сфере,  к бюджетным средствам, выделяемым на предоставление социальных услуг населению, использованию различных форм поддержки деятельности СОНКО </a:t>
              </a:r>
            </a:p>
            <a:p>
              <a:pPr marL="90488" marR="0" lvl="0" indent="180975" algn="ctr" defTabSz="533400" eaLnBrk="1" fontAlgn="auto" latinLnBrk="0" hangingPunct="1">
                <a:lnSpc>
                  <a:spcPct val="100000"/>
                </a:lnSpc>
                <a:spcBef>
                  <a:spcPct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ru-RU" sz="13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(распоряжением Правительства ИО от 1 декабря 2017 года реализация Комплексного плана продлена до 2020 года)</a:t>
              </a:r>
              <a:endParaRPr kumimoji="0" lang="ru-RU" sz="13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</p:grpSp>
      <p:sp>
        <p:nvSpPr>
          <p:cNvPr id="146" name="Скругленный прямоугольник 145"/>
          <p:cNvSpPr/>
          <p:nvPr/>
        </p:nvSpPr>
        <p:spPr>
          <a:xfrm>
            <a:off x="1619672" y="5688019"/>
            <a:ext cx="6264696" cy="852962"/>
          </a:xfrm>
          <a:prstGeom prst="roundRect">
            <a:avLst>
              <a:gd name="adj" fmla="val 10000"/>
            </a:avLst>
          </a:prstGeom>
          <a:solidFill>
            <a:schemeClr val="accent5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</p:sp>
      <p:sp>
        <p:nvSpPr>
          <p:cNvPr id="147" name="Прямоугольник 146"/>
          <p:cNvSpPr/>
          <p:nvPr/>
        </p:nvSpPr>
        <p:spPr>
          <a:xfrm>
            <a:off x="1693264" y="5661248"/>
            <a:ext cx="611909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180000" algn="ctr" defTabSz="533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С 01.01.2017 года министерство экономического развития Иркутской области определено уполномоченным органом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на координацию деятельности исполнительных органов государственной власти Иркутской области по реализации Комплекса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мер (постановление</a:t>
            </a:r>
            <a:r>
              <a:rPr kumimoji="0" lang="ru-RU" sz="1200" b="0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Правительства Иркутской области от 12.01.2017 года №12-пп)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48" name="Группа 147"/>
          <p:cNvGrpSpPr/>
          <p:nvPr/>
        </p:nvGrpSpPr>
        <p:grpSpPr>
          <a:xfrm>
            <a:off x="371158" y="620688"/>
            <a:ext cx="6176771" cy="383361"/>
            <a:chOff x="218263" y="473089"/>
            <a:chExt cx="8247839" cy="566912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49" name="Скругленный прямоугольник 148"/>
            <p:cNvSpPr/>
            <p:nvPr/>
          </p:nvSpPr>
          <p:spPr>
            <a:xfrm>
              <a:off x="218263" y="473089"/>
              <a:ext cx="8247839" cy="563421"/>
            </a:xfrm>
            <a:prstGeom prst="roundRect">
              <a:avLst/>
            </a:prstGeom>
            <a:solidFill>
              <a:srgbClr val="C7E0FB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</p:sp>
        <p:sp>
          <p:nvSpPr>
            <p:cNvPr id="150" name="Скругленный прямоугольник 4"/>
            <p:cNvSpPr/>
            <p:nvPr/>
          </p:nvSpPr>
          <p:spPr>
            <a:xfrm>
              <a:off x="245767" y="531589"/>
              <a:ext cx="8192831" cy="508412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marL="0" marR="0" lvl="0" indent="0" algn="ctr" defTabSz="6223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ослание Президента РФ Федеральному собранию РФ от 3 декабря 2015 года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1" name="Группа 150"/>
          <p:cNvGrpSpPr/>
          <p:nvPr/>
        </p:nvGrpSpPr>
        <p:grpSpPr>
          <a:xfrm>
            <a:off x="1479572" y="1762640"/>
            <a:ext cx="7251789" cy="568963"/>
            <a:chOff x="265217" y="3505202"/>
            <a:chExt cx="8211233" cy="680725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52" name="Скругленный прямоугольник 151"/>
            <p:cNvSpPr/>
            <p:nvPr/>
          </p:nvSpPr>
          <p:spPr>
            <a:xfrm>
              <a:off x="265217" y="3505202"/>
              <a:ext cx="8211233" cy="680725"/>
            </a:xfrm>
            <a:prstGeom prst="roundRect">
              <a:avLst/>
            </a:prstGeom>
            <a:solidFill>
              <a:srgbClr val="C7E0FB">
                <a:hueOff val="0"/>
                <a:satOff val="0"/>
                <a:lumOff val="0"/>
                <a:alphaOff val="0"/>
              </a:srgbClr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</p:sp>
        <p:sp>
          <p:nvSpPr>
            <p:cNvPr id="153" name="Скругленный прямоугольник 4"/>
            <p:cNvSpPr/>
            <p:nvPr/>
          </p:nvSpPr>
          <p:spPr>
            <a:xfrm>
              <a:off x="298447" y="3538432"/>
              <a:ext cx="8144773" cy="614265"/>
            </a:xfrm>
            <a:prstGeom prst="rect">
              <a:avLst/>
            </a:prstGeom>
            <a:noFill/>
            <a:ln>
              <a:noFill/>
            </a:ln>
            <a:effectLst/>
            <a:sp3d/>
          </p:spPr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b="1" dirty="0">
                  <a:solidFill>
                    <a:schemeClr val="accent1">
                      <a:lumMod val="50000"/>
                    </a:schemeClr>
                  </a:solidFill>
                  <a:latin typeface="Arial"/>
                </a:rPr>
                <a:t>Ежегодное Послание Губернатора Иркутской области о положении дел в Иркутской области в 2016 году и основных направлениях областной государственной политики на 2017 год</a:t>
              </a:r>
            </a:p>
          </p:txBody>
        </p:sp>
      </p:grpSp>
      <p:sp>
        <p:nvSpPr>
          <p:cNvPr id="154" name="Прямоугольник 153"/>
          <p:cNvSpPr/>
          <p:nvPr/>
        </p:nvSpPr>
        <p:spPr>
          <a:xfrm>
            <a:off x="1846310" y="2430073"/>
            <a:ext cx="6840025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indent="450850" algn="just"/>
            <a:r>
              <a:rPr lang="ru-RU" sz="1200" i="1" kern="0" dirty="0">
                <a:solidFill>
                  <a:srgbClr val="2A2A2A"/>
                </a:solidFill>
                <a:latin typeface="Arial"/>
                <a:ea typeface="Times New Roman" pitchFamily="18" charset="0"/>
                <a:cs typeface="Times New Roman" pitchFamily="18" charset="0"/>
              </a:rPr>
              <a:t>«Поручаю Правительству Иркутской области обеспечить реализацию комплексного плана, предусмотреть необходимые меры имущественной поддержки и создание инфраструктуры для создания новых и развития действующих социально-ориентированных некоммерческих организаций»</a:t>
            </a:r>
          </a:p>
        </p:txBody>
      </p:sp>
      <p:sp>
        <p:nvSpPr>
          <p:cNvPr id="155" name="Rectangle 1"/>
          <p:cNvSpPr>
            <a:spLocks noChangeArrowheads="1"/>
          </p:cNvSpPr>
          <p:nvPr/>
        </p:nvSpPr>
        <p:spPr bwMode="auto">
          <a:xfrm>
            <a:off x="391756" y="1081454"/>
            <a:ext cx="770386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508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 smtClean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Times New Roman" pitchFamily="18" charset="0"/>
                <a:cs typeface="Times New Roman" pitchFamily="18" charset="0"/>
              </a:rPr>
              <a:t>«…считаю правильным поэтапно направлять некоммерческим организациям до 10 процентов средств региональных и муниципальных социальных программ, чтобы НКО могли участвовать в оказании социальных услуг, которые финансируются за счёт бюджетов..»</a:t>
            </a:r>
            <a:endParaRPr kumimoji="0" lang="ru-RU" sz="1100" b="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50" name="Rectangle 1"/>
          <p:cNvSpPr>
            <a:spLocks noChangeArrowheads="1"/>
          </p:cNvSpPr>
          <p:nvPr/>
        </p:nvSpPr>
        <p:spPr bwMode="auto">
          <a:xfrm>
            <a:off x="8502403" y="6478854"/>
            <a:ext cx="6061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 smtClean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Times New Roman" pitchFamily="18" charset="0"/>
                <a:cs typeface="Times New Roman" pitchFamily="18" charset="0"/>
              </a:rPr>
              <a:t>2</a:t>
            </a:r>
            <a:endParaRPr kumimoji="0" lang="ru-RU" sz="1100" b="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1831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Группа 99"/>
          <p:cNvGrpSpPr/>
          <p:nvPr/>
        </p:nvGrpSpPr>
        <p:grpSpPr>
          <a:xfrm rot="21095698">
            <a:off x="900859" y="-1237965"/>
            <a:ext cx="7918345" cy="8662864"/>
            <a:chOff x="2045390" y="1136389"/>
            <a:chExt cx="6214834" cy="5579942"/>
          </a:xfrm>
          <a:solidFill>
            <a:schemeClr val="bg1">
              <a:lumMod val="65000"/>
              <a:alpha val="14000"/>
            </a:schemeClr>
          </a:solidFill>
          <a:effectLst/>
        </p:grpSpPr>
        <p:sp>
          <p:nvSpPr>
            <p:cNvPr id="41" name="Freeform 5"/>
            <p:cNvSpPr>
              <a:spLocks/>
            </p:cNvSpPr>
            <p:nvPr/>
          </p:nvSpPr>
          <p:spPr bwMode="auto">
            <a:xfrm rot="21439583">
              <a:off x="6752056" y="2477586"/>
              <a:ext cx="1508168" cy="1735240"/>
            </a:xfrm>
            <a:custGeom>
              <a:avLst/>
              <a:gdLst/>
              <a:ahLst/>
              <a:cxnLst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30" y="67"/>
                </a:cxn>
                <a:cxn ang="0">
                  <a:pos x="52" y="33"/>
                </a:cxn>
                <a:cxn ang="0">
                  <a:pos x="71" y="6"/>
                </a:cxn>
                <a:cxn ang="0">
                  <a:pos x="106" y="7"/>
                </a:cxn>
                <a:cxn ang="0">
                  <a:pos x="140" y="24"/>
                </a:cxn>
                <a:cxn ang="0">
                  <a:pos x="152" y="47"/>
                </a:cxn>
                <a:cxn ang="0">
                  <a:pos x="175" y="75"/>
                </a:cxn>
                <a:cxn ang="0">
                  <a:pos x="196" y="76"/>
                </a:cxn>
                <a:cxn ang="0">
                  <a:pos x="215" y="69"/>
                </a:cxn>
                <a:cxn ang="0">
                  <a:pos x="238" y="90"/>
                </a:cxn>
                <a:cxn ang="0">
                  <a:pos x="246" y="122"/>
                </a:cxn>
                <a:cxn ang="0">
                  <a:pos x="265" y="145"/>
                </a:cxn>
                <a:cxn ang="0">
                  <a:pos x="258" y="174"/>
                </a:cxn>
                <a:cxn ang="0">
                  <a:pos x="228" y="168"/>
                </a:cxn>
                <a:cxn ang="0">
                  <a:pos x="199" y="185"/>
                </a:cxn>
                <a:cxn ang="0">
                  <a:pos x="196" y="204"/>
                </a:cxn>
                <a:cxn ang="0">
                  <a:pos x="191" y="233"/>
                </a:cxn>
                <a:cxn ang="0">
                  <a:pos x="203" y="257"/>
                </a:cxn>
                <a:cxn ang="0">
                  <a:pos x="213" y="265"/>
                </a:cxn>
                <a:cxn ang="0">
                  <a:pos x="218" y="282"/>
                </a:cxn>
                <a:cxn ang="0">
                  <a:pos x="220" y="302"/>
                </a:cxn>
                <a:cxn ang="0">
                  <a:pos x="187" y="319"/>
                </a:cxn>
                <a:cxn ang="0">
                  <a:pos x="139" y="314"/>
                </a:cxn>
                <a:cxn ang="0">
                  <a:pos x="151" y="292"/>
                </a:cxn>
                <a:cxn ang="0">
                  <a:pos x="113" y="293"/>
                </a:cxn>
                <a:cxn ang="0">
                  <a:pos x="95" y="312"/>
                </a:cxn>
                <a:cxn ang="0">
                  <a:pos x="84" y="328"/>
                </a:cxn>
                <a:cxn ang="0">
                  <a:pos x="59" y="346"/>
                </a:cxn>
                <a:cxn ang="0">
                  <a:pos x="28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31" y="327"/>
                </a:cxn>
                <a:cxn ang="0">
                  <a:pos x="24" y="310"/>
                </a:cxn>
                <a:cxn ang="0">
                  <a:pos x="15" y="288"/>
                </a:cxn>
                <a:cxn ang="0">
                  <a:pos x="9" y="276"/>
                </a:cxn>
                <a:cxn ang="0">
                  <a:pos x="10" y="257"/>
                </a:cxn>
                <a:cxn ang="0">
                  <a:pos x="14" y="226"/>
                </a:cxn>
                <a:cxn ang="0">
                  <a:pos x="25" y="209"/>
                </a:cxn>
                <a:cxn ang="0">
                  <a:pos x="18" y="184"/>
                </a:cxn>
                <a:cxn ang="0">
                  <a:pos x="23" y="160"/>
                </a:cxn>
                <a:cxn ang="0">
                  <a:pos x="24" y="129"/>
                </a:cxn>
                <a:cxn ang="0">
                  <a:pos x="18" y="104"/>
                </a:cxn>
              </a:cxnLst>
              <a:rect l="0" t="0" r="r" b="b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8" y="350"/>
                  </a:lnTo>
                  <a:lnTo>
                    <a:pt x="28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auto">
            <a:xfrm rot="21439583">
              <a:off x="5936291" y="2923073"/>
              <a:ext cx="1012112" cy="1287381"/>
            </a:xfrm>
            <a:custGeom>
              <a:avLst/>
              <a:gdLst/>
              <a:ahLst/>
              <a:cxnLst>
                <a:cxn ang="0">
                  <a:pos x="8" y="81"/>
                </a:cxn>
                <a:cxn ang="0">
                  <a:pos x="18" y="70"/>
                </a:cxn>
                <a:cxn ang="0">
                  <a:pos x="25" y="59"/>
                </a:cxn>
                <a:cxn ang="0">
                  <a:pos x="36" y="51"/>
                </a:cxn>
                <a:cxn ang="0">
                  <a:pos x="52" y="47"/>
                </a:cxn>
                <a:cxn ang="0">
                  <a:pos x="77" y="41"/>
                </a:cxn>
                <a:cxn ang="0">
                  <a:pos x="88" y="29"/>
                </a:cxn>
                <a:cxn ang="0">
                  <a:pos x="98" y="27"/>
                </a:cxn>
                <a:cxn ang="0">
                  <a:pos x="105" y="40"/>
                </a:cxn>
                <a:cxn ang="0">
                  <a:pos x="108" y="51"/>
                </a:cxn>
                <a:cxn ang="0">
                  <a:pos x="106" y="64"/>
                </a:cxn>
                <a:cxn ang="0">
                  <a:pos x="121" y="54"/>
                </a:cxn>
                <a:cxn ang="0">
                  <a:pos x="137" y="51"/>
                </a:cxn>
                <a:cxn ang="0">
                  <a:pos x="149" y="43"/>
                </a:cxn>
                <a:cxn ang="0">
                  <a:pos x="147" y="28"/>
                </a:cxn>
                <a:cxn ang="0">
                  <a:pos x="152" y="15"/>
                </a:cxn>
                <a:cxn ang="0">
                  <a:pos x="159" y="9"/>
                </a:cxn>
                <a:cxn ang="0">
                  <a:pos x="171" y="8"/>
                </a:cxn>
                <a:cxn ang="0">
                  <a:pos x="166" y="38"/>
                </a:cxn>
                <a:cxn ang="0">
                  <a:pos x="167" y="59"/>
                </a:cxn>
                <a:cxn ang="0">
                  <a:pos x="177" y="80"/>
                </a:cxn>
                <a:cxn ang="0">
                  <a:pos x="167" y="99"/>
                </a:cxn>
                <a:cxn ang="0">
                  <a:pos x="181" y="121"/>
                </a:cxn>
                <a:cxn ang="0">
                  <a:pos x="169" y="140"/>
                </a:cxn>
                <a:cxn ang="0">
                  <a:pos x="152" y="161"/>
                </a:cxn>
                <a:cxn ang="0">
                  <a:pos x="149" y="180"/>
                </a:cxn>
                <a:cxn ang="0">
                  <a:pos x="149" y="197"/>
                </a:cxn>
                <a:cxn ang="0">
                  <a:pos x="168" y="216"/>
                </a:cxn>
                <a:cxn ang="0">
                  <a:pos x="171" y="234"/>
                </a:cxn>
                <a:cxn ang="0">
                  <a:pos x="180" y="253"/>
                </a:cxn>
                <a:cxn ang="0">
                  <a:pos x="171" y="265"/>
                </a:cxn>
                <a:cxn ang="0">
                  <a:pos x="156" y="268"/>
                </a:cxn>
                <a:cxn ang="0">
                  <a:pos x="141" y="261"/>
                </a:cxn>
                <a:cxn ang="0">
                  <a:pos x="135" y="244"/>
                </a:cxn>
                <a:cxn ang="0">
                  <a:pos x="127" y="255"/>
                </a:cxn>
                <a:cxn ang="0">
                  <a:pos x="117" y="254"/>
                </a:cxn>
                <a:cxn ang="0">
                  <a:pos x="104" y="251"/>
                </a:cxn>
                <a:cxn ang="0">
                  <a:pos x="92" y="252"/>
                </a:cxn>
                <a:cxn ang="0">
                  <a:pos x="74" y="239"/>
                </a:cxn>
                <a:cxn ang="0">
                  <a:pos x="62" y="265"/>
                </a:cxn>
                <a:cxn ang="0">
                  <a:pos x="29" y="265"/>
                </a:cxn>
                <a:cxn ang="0">
                  <a:pos x="49" y="240"/>
                </a:cxn>
                <a:cxn ang="0">
                  <a:pos x="41" y="213"/>
                </a:cxn>
                <a:cxn ang="0">
                  <a:pos x="41" y="194"/>
                </a:cxn>
                <a:cxn ang="0">
                  <a:pos x="32" y="176"/>
                </a:cxn>
                <a:cxn ang="0">
                  <a:pos x="24" y="155"/>
                </a:cxn>
                <a:cxn ang="0">
                  <a:pos x="34" y="141"/>
                </a:cxn>
                <a:cxn ang="0">
                  <a:pos x="47" y="129"/>
                </a:cxn>
                <a:cxn ang="0">
                  <a:pos x="70" y="116"/>
                </a:cxn>
                <a:cxn ang="0">
                  <a:pos x="68" y="82"/>
                </a:cxn>
                <a:cxn ang="0">
                  <a:pos x="38" y="84"/>
                </a:cxn>
                <a:cxn ang="0">
                  <a:pos x="18" y="100"/>
                </a:cxn>
                <a:cxn ang="0">
                  <a:pos x="4" y="89"/>
                </a:cxn>
              </a:cxnLst>
              <a:rect l="0" t="0" r="r" b="b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auto">
            <a:xfrm rot="21439583">
              <a:off x="2936531" y="3794175"/>
              <a:ext cx="630071" cy="1077926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30" y="31"/>
                </a:cxn>
                <a:cxn ang="0">
                  <a:pos x="35" y="28"/>
                </a:cxn>
                <a:cxn ang="0">
                  <a:pos x="46" y="27"/>
                </a:cxn>
                <a:cxn ang="0">
                  <a:pos x="52" y="20"/>
                </a:cxn>
                <a:cxn ang="0">
                  <a:pos x="59" y="12"/>
                </a:cxn>
                <a:cxn ang="0">
                  <a:pos x="61" y="2"/>
                </a:cxn>
                <a:cxn ang="0">
                  <a:pos x="78" y="4"/>
                </a:cxn>
                <a:cxn ang="0">
                  <a:pos x="79" y="18"/>
                </a:cxn>
                <a:cxn ang="0">
                  <a:pos x="84" y="24"/>
                </a:cxn>
                <a:cxn ang="0">
                  <a:pos x="91" y="28"/>
                </a:cxn>
                <a:cxn ang="0">
                  <a:pos x="93" y="51"/>
                </a:cxn>
                <a:cxn ang="0">
                  <a:pos x="108" y="64"/>
                </a:cxn>
                <a:cxn ang="0">
                  <a:pos x="107" y="78"/>
                </a:cxn>
                <a:cxn ang="0">
                  <a:pos x="105" y="88"/>
                </a:cxn>
                <a:cxn ang="0">
                  <a:pos x="110" y="94"/>
                </a:cxn>
                <a:cxn ang="0">
                  <a:pos x="111" y="104"/>
                </a:cxn>
                <a:cxn ang="0">
                  <a:pos x="98" y="112"/>
                </a:cxn>
                <a:cxn ang="0">
                  <a:pos x="98" y="115"/>
                </a:cxn>
                <a:cxn ang="0">
                  <a:pos x="98" y="115"/>
                </a:cxn>
                <a:cxn ang="0">
                  <a:pos x="88" y="120"/>
                </a:cxn>
                <a:cxn ang="0">
                  <a:pos x="83" y="129"/>
                </a:cxn>
                <a:cxn ang="0">
                  <a:pos x="74" y="130"/>
                </a:cxn>
                <a:cxn ang="0">
                  <a:pos x="71" y="139"/>
                </a:cxn>
                <a:cxn ang="0">
                  <a:pos x="81" y="150"/>
                </a:cxn>
                <a:cxn ang="0">
                  <a:pos x="86" y="159"/>
                </a:cxn>
                <a:cxn ang="0">
                  <a:pos x="97" y="159"/>
                </a:cxn>
                <a:cxn ang="0">
                  <a:pos x="101" y="165"/>
                </a:cxn>
                <a:cxn ang="0">
                  <a:pos x="99" y="206"/>
                </a:cxn>
                <a:cxn ang="0">
                  <a:pos x="92" y="210"/>
                </a:cxn>
                <a:cxn ang="0">
                  <a:pos x="78" y="209"/>
                </a:cxn>
                <a:cxn ang="0">
                  <a:pos x="71" y="215"/>
                </a:cxn>
                <a:cxn ang="0">
                  <a:pos x="71" y="223"/>
                </a:cxn>
                <a:cxn ang="0">
                  <a:pos x="61" y="221"/>
                </a:cxn>
                <a:cxn ang="0">
                  <a:pos x="55" y="226"/>
                </a:cxn>
                <a:cxn ang="0">
                  <a:pos x="44" y="215"/>
                </a:cxn>
                <a:cxn ang="0">
                  <a:pos x="37" y="215"/>
                </a:cxn>
                <a:cxn ang="0">
                  <a:pos x="27" y="207"/>
                </a:cxn>
                <a:cxn ang="0">
                  <a:pos x="18" y="200"/>
                </a:cxn>
                <a:cxn ang="0">
                  <a:pos x="7" y="186"/>
                </a:cxn>
                <a:cxn ang="0">
                  <a:pos x="10" y="179"/>
                </a:cxn>
                <a:cxn ang="0">
                  <a:pos x="4" y="173"/>
                </a:cxn>
                <a:cxn ang="0">
                  <a:pos x="6" y="163"/>
                </a:cxn>
                <a:cxn ang="0">
                  <a:pos x="1" y="153"/>
                </a:cxn>
                <a:cxn ang="0">
                  <a:pos x="4" y="146"/>
                </a:cxn>
                <a:cxn ang="0">
                  <a:pos x="6" y="136"/>
                </a:cxn>
                <a:cxn ang="0">
                  <a:pos x="7" y="123"/>
                </a:cxn>
                <a:cxn ang="0">
                  <a:pos x="5" y="110"/>
                </a:cxn>
                <a:cxn ang="0">
                  <a:pos x="10" y="104"/>
                </a:cxn>
                <a:cxn ang="0">
                  <a:pos x="8" y="91"/>
                </a:cxn>
                <a:cxn ang="0">
                  <a:pos x="19" y="89"/>
                </a:cxn>
                <a:cxn ang="0">
                  <a:pos x="17" y="77"/>
                </a:cxn>
                <a:cxn ang="0">
                  <a:pos x="23" y="72"/>
                </a:cxn>
                <a:cxn ang="0">
                  <a:pos x="24" y="52"/>
                </a:cxn>
                <a:cxn ang="0">
                  <a:pos x="29" y="45"/>
                </a:cxn>
                <a:cxn ang="0">
                  <a:pos x="28" y="32"/>
                </a:cxn>
              </a:cxnLst>
              <a:rect l="0" t="0" r="r" b="b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lnTo>
                    <a:pt x="98" y="115"/>
                  </a:ln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5" name="Freeform 9"/>
            <p:cNvSpPr>
              <a:spLocks noEditPoints="1"/>
            </p:cNvSpPr>
            <p:nvPr/>
          </p:nvSpPr>
          <p:spPr bwMode="auto">
            <a:xfrm rot="21439583">
              <a:off x="2045390" y="4696010"/>
              <a:ext cx="1344150" cy="1263539"/>
            </a:xfrm>
            <a:custGeom>
              <a:avLst/>
              <a:gdLst/>
              <a:ahLst/>
              <a:cxnLst>
                <a:cxn ang="0">
                  <a:pos x="210" y="238"/>
                </a:cxn>
                <a:cxn ang="0">
                  <a:pos x="199" y="253"/>
                </a:cxn>
                <a:cxn ang="0">
                  <a:pos x="167" y="264"/>
                </a:cxn>
                <a:cxn ang="0">
                  <a:pos x="160" y="247"/>
                </a:cxn>
                <a:cxn ang="0">
                  <a:pos x="142" y="251"/>
                </a:cxn>
                <a:cxn ang="0">
                  <a:pos x="120" y="238"/>
                </a:cxn>
                <a:cxn ang="0">
                  <a:pos x="111" y="226"/>
                </a:cxn>
                <a:cxn ang="0">
                  <a:pos x="92" y="218"/>
                </a:cxn>
                <a:cxn ang="0">
                  <a:pos x="77" y="201"/>
                </a:cxn>
                <a:cxn ang="0">
                  <a:pos x="49" y="182"/>
                </a:cxn>
                <a:cxn ang="0">
                  <a:pos x="35" y="183"/>
                </a:cxn>
                <a:cxn ang="0">
                  <a:pos x="19" y="162"/>
                </a:cxn>
                <a:cxn ang="0">
                  <a:pos x="10" y="145"/>
                </a:cxn>
                <a:cxn ang="0">
                  <a:pos x="1" y="126"/>
                </a:cxn>
                <a:cxn ang="0">
                  <a:pos x="15" y="120"/>
                </a:cxn>
                <a:cxn ang="0">
                  <a:pos x="27" y="106"/>
                </a:cxn>
                <a:cxn ang="0">
                  <a:pos x="43" y="112"/>
                </a:cxn>
                <a:cxn ang="0">
                  <a:pos x="55" y="91"/>
                </a:cxn>
                <a:cxn ang="0">
                  <a:pos x="58" y="79"/>
                </a:cxn>
                <a:cxn ang="0">
                  <a:pos x="79" y="80"/>
                </a:cxn>
                <a:cxn ang="0">
                  <a:pos x="98" y="86"/>
                </a:cxn>
                <a:cxn ang="0">
                  <a:pos x="109" y="106"/>
                </a:cxn>
                <a:cxn ang="0">
                  <a:pos x="128" y="107"/>
                </a:cxn>
                <a:cxn ang="0">
                  <a:pos x="128" y="83"/>
                </a:cxn>
                <a:cxn ang="0">
                  <a:pos x="131" y="67"/>
                </a:cxn>
                <a:cxn ang="0">
                  <a:pos x="151" y="71"/>
                </a:cxn>
                <a:cxn ang="0">
                  <a:pos x="140" y="44"/>
                </a:cxn>
                <a:cxn ang="0">
                  <a:pos x="147" y="27"/>
                </a:cxn>
                <a:cxn ang="0">
                  <a:pos x="170" y="12"/>
                </a:cxn>
                <a:cxn ang="0">
                  <a:pos x="179" y="4"/>
                </a:cxn>
                <a:cxn ang="0">
                  <a:pos x="196" y="21"/>
                </a:cxn>
                <a:cxn ang="0">
                  <a:pos x="224" y="40"/>
                </a:cxn>
                <a:cxn ang="0">
                  <a:pos x="235" y="48"/>
                </a:cxn>
                <a:cxn ang="0">
                  <a:pos x="228" y="81"/>
                </a:cxn>
                <a:cxn ang="0">
                  <a:pos x="226" y="101"/>
                </a:cxn>
                <a:cxn ang="0">
                  <a:pos x="225" y="132"/>
                </a:cxn>
                <a:cxn ang="0">
                  <a:pos x="218" y="145"/>
                </a:cxn>
                <a:cxn ang="0">
                  <a:pos x="203" y="173"/>
                </a:cxn>
                <a:cxn ang="0">
                  <a:pos x="191" y="189"/>
                </a:cxn>
                <a:cxn ang="0">
                  <a:pos x="191" y="210"/>
                </a:cxn>
                <a:cxn ang="0">
                  <a:pos x="211" y="225"/>
                </a:cxn>
                <a:cxn ang="0">
                  <a:pos x="177" y="1"/>
                </a:cxn>
                <a:cxn ang="0">
                  <a:pos x="58" y="76"/>
                </a:cxn>
                <a:cxn ang="0">
                  <a:pos x="57" y="76"/>
                </a:cxn>
              </a:cxnLst>
              <a:rect l="0" t="0" r="r" b="b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6" name="Freeform 12"/>
            <p:cNvSpPr>
              <a:spLocks noEditPoints="1"/>
            </p:cNvSpPr>
            <p:nvPr/>
          </p:nvSpPr>
          <p:spPr bwMode="auto">
            <a:xfrm rot="21439583">
              <a:off x="5098311" y="3274651"/>
              <a:ext cx="1306145" cy="1008108"/>
            </a:xfrm>
            <a:custGeom>
              <a:avLst/>
              <a:gdLst/>
              <a:ahLst/>
              <a:cxnLst>
                <a:cxn ang="0">
                  <a:pos x="139" y="12"/>
                </a:cxn>
                <a:cxn ang="0">
                  <a:pos x="156" y="21"/>
                </a:cxn>
                <a:cxn ang="0">
                  <a:pos x="170" y="32"/>
                </a:cxn>
                <a:cxn ang="0">
                  <a:pos x="190" y="16"/>
                </a:cxn>
                <a:cxn ang="0">
                  <a:pos x="220" y="14"/>
                </a:cxn>
                <a:cxn ang="0">
                  <a:pos x="222" y="48"/>
                </a:cxn>
                <a:cxn ang="0">
                  <a:pos x="199" y="61"/>
                </a:cxn>
                <a:cxn ang="0">
                  <a:pos x="186" y="73"/>
                </a:cxn>
                <a:cxn ang="0">
                  <a:pos x="176" y="87"/>
                </a:cxn>
                <a:cxn ang="0">
                  <a:pos x="184" y="108"/>
                </a:cxn>
                <a:cxn ang="0">
                  <a:pos x="193" y="126"/>
                </a:cxn>
                <a:cxn ang="0">
                  <a:pos x="193" y="145"/>
                </a:cxn>
                <a:cxn ang="0">
                  <a:pos x="201" y="172"/>
                </a:cxn>
                <a:cxn ang="0">
                  <a:pos x="181" y="197"/>
                </a:cxn>
                <a:cxn ang="0">
                  <a:pos x="168" y="189"/>
                </a:cxn>
                <a:cxn ang="0">
                  <a:pos x="156" y="199"/>
                </a:cxn>
                <a:cxn ang="0">
                  <a:pos x="130" y="187"/>
                </a:cxn>
                <a:cxn ang="0">
                  <a:pos x="112" y="182"/>
                </a:cxn>
                <a:cxn ang="0">
                  <a:pos x="103" y="147"/>
                </a:cxn>
                <a:cxn ang="0">
                  <a:pos x="76" y="150"/>
                </a:cxn>
                <a:cxn ang="0">
                  <a:pos x="61" y="182"/>
                </a:cxn>
                <a:cxn ang="0">
                  <a:pos x="47" y="189"/>
                </a:cxn>
                <a:cxn ang="0">
                  <a:pos x="23" y="207"/>
                </a:cxn>
                <a:cxn ang="0">
                  <a:pos x="0" y="192"/>
                </a:cxn>
                <a:cxn ang="0">
                  <a:pos x="11" y="178"/>
                </a:cxn>
                <a:cxn ang="0">
                  <a:pos x="18" y="159"/>
                </a:cxn>
                <a:cxn ang="0">
                  <a:pos x="13" y="133"/>
                </a:cxn>
                <a:cxn ang="0">
                  <a:pos x="26" y="125"/>
                </a:cxn>
                <a:cxn ang="0">
                  <a:pos x="10" y="108"/>
                </a:cxn>
                <a:cxn ang="0">
                  <a:pos x="12" y="79"/>
                </a:cxn>
                <a:cxn ang="0">
                  <a:pos x="23" y="73"/>
                </a:cxn>
                <a:cxn ang="0">
                  <a:pos x="29" y="54"/>
                </a:cxn>
                <a:cxn ang="0">
                  <a:pos x="42" y="44"/>
                </a:cxn>
                <a:cxn ang="0">
                  <a:pos x="52" y="52"/>
                </a:cxn>
                <a:cxn ang="0">
                  <a:pos x="64" y="67"/>
                </a:cxn>
                <a:cxn ang="0">
                  <a:pos x="77" y="81"/>
                </a:cxn>
                <a:cxn ang="0">
                  <a:pos x="85" y="57"/>
                </a:cxn>
                <a:cxn ang="0">
                  <a:pos x="89" y="36"/>
                </a:cxn>
                <a:cxn ang="0">
                  <a:pos x="107" y="16"/>
                </a:cxn>
                <a:cxn ang="0">
                  <a:pos x="128" y="0"/>
                </a:cxn>
                <a:cxn ang="0">
                  <a:pos x="234" y="174"/>
                </a:cxn>
                <a:cxn ang="0">
                  <a:pos x="181" y="197"/>
                </a:cxn>
                <a:cxn ang="0">
                  <a:pos x="181" y="197"/>
                </a:cxn>
                <a:cxn ang="0">
                  <a:pos x="181" y="197"/>
                </a:cxn>
              </a:cxnLst>
              <a:rect l="0" t="0" r="r" b="b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7" name="Freeform 13"/>
            <p:cNvSpPr>
              <a:spLocks/>
            </p:cNvSpPr>
            <p:nvPr/>
          </p:nvSpPr>
          <p:spPr bwMode="auto">
            <a:xfrm rot="21439583">
              <a:off x="3027423" y="5063253"/>
              <a:ext cx="598067" cy="807167"/>
            </a:xfrm>
            <a:custGeom>
              <a:avLst/>
              <a:gdLst/>
              <a:ahLst/>
              <a:cxnLst>
                <a:cxn ang="0">
                  <a:pos x="58" y="170"/>
                </a:cxn>
                <a:cxn ang="0">
                  <a:pos x="61" y="162"/>
                </a:cxn>
                <a:cxn ang="0">
                  <a:pos x="57" y="159"/>
                </a:cxn>
                <a:cxn ang="0">
                  <a:pos x="55" y="151"/>
                </a:cxn>
                <a:cxn ang="0">
                  <a:pos x="49" y="151"/>
                </a:cxn>
                <a:cxn ang="0">
                  <a:pos x="46" y="150"/>
                </a:cxn>
                <a:cxn ang="0">
                  <a:pos x="36" y="143"/>
                </a:cxn>
                <a:cxn ang="0">
                  <a:pos x="28" y="135"/>
                </a:cxn>
                <a:cxn ang="0">
                  <a:pos x="20" y="141"/>
                </a:cxn>
                <a:cxn ang="0">
                  <a:pos x="16" y="128"/>
                </a:cxn>
                <a:cxn ang="0">
                  <a:pos x="12" y="116"/>
                </a:cxn>
                <a:cxn ang="0">
                  <a:pos x="2" y="107"/>
                </a:cxn>
                <a:cxn ang="0">
                  <a:pos x="16" y="107"/>
                </a:cxn>
                <a:cxn ang="0">
                  <a:pos x="12" y="98"/>
                </a:cxn>
                <a:cxn ang="0">
                  <a:pos x="16" y="89"/>
                </a:cxn>
                <a:cxn ang="0">
                  <a:pos x="28" y="91"/>
                </a:cxn>
                <a:cxn ang="0">
                  <a:pos x="31" y="79"/>
                </a:cxn>
                <a:cxn ang="0">
                  <a:pos x="31" y="66"/>
                </a:cxn>
                <a:cxn ang="0">
                  <a:pos x="43" y="63"/>
                </a:cxn>
                <a:cxn ang="0">
                  <a:pos x="34" y="54"/>
                </a:cxn>
                <a:cxn ang="0">
                  <a:pos x="35" y="45"/>
                </a:cxn>
                <a:cxn ang="0">
                  <a:pos x="50" y="50"/>
                </a:cxn>
                <a:cxn ang="0">
                  <a:pos x="53" y="40"/>
                </a:cxn>
                <a:cxn ang="0">
                  <a:pos x="48" y="31"/>
                </a:cxn>
                <a:cxn ang="0">
                  <a:pos x="51" y="19"/>
                </a:cxn>
                <a:cxn ang="0">
                  <a:pos x="43" y="12"/>
                </a:cxn>
                <a:cxn ang="0">
                  <a:pos x="46" y="4"/>
                </a:cxn>
                <a:cxn ang="0">
                  <a:pos x="50" y="2"/>
                </a:cxn>
                <a:cxn ang="0">
                  <a:pos x="91" y="3"/>
                </a:cxn>
                <a:cxn ang="0">
                  <a:pos x="95" y="9"/>
                </a:cxn>
                <a:cxn ang="0">
                  <a:pos x="107" y="9"/>
                </a:cxn>
                <a:cxn ang="0">
                  <a:pos x="103" y="14"/>
                </a:cxn>
                <a:cxn ang="0">
                  <a:pos x="105" y="20"/>
                </a:cxn>
                <a:cxn ang="0">
                  <a:pos x="97" y="21"/>
                </a:cxn>
                <a:cxn ang="0">
                  <a:pos x="87" y="26"/>
                </a:cxn>
                <a:cxn ang="0">
                  <a:pos x="88" y="34"/>
                </a:cxn>
                <a:cxn ang="0">
                  <a:pos x="97" y="34"/>
                </a:cxn>
                <a:cxn ang="0">
                  <a:pos x="98" y="41"/>
                </a:cxn>
                <a:cxn ang="0">
                  <a:pos x="105" y="44"/>
                </a:cxn>
                <a:cxn ang="0">
                  <a:pos x="107" y="55"/>
                </a:cxn>
                <a:cxn ang="0">
                  <a:pos x="104" y="62"/>
                </a:cxn>
                <a:cxn ang="0">
                  <a:pos x="100" y="63"/>
                </a:cxn>
                <a:cxn ang="0">
                  <a:pos x="101" y="73"/>
                </a:cxn>
                <a:cxn ang="0">
                  <a:pos x="97" y="77"/>
                </a:cxn>
                <a:cxn ang="0">
                  <a:pos x="82" y="80"/>
                </a:cxn>
                <a:cxn ang="0">
                  <a:pos x="81" y="86"/>
                </a:cxn>
                <a:cxn ang="0">
                  <a:pos x="91" y="89"/>
                </a:cxn>
                <a:cxn ang="0">
                  <a:pos x="94" y="94"/>
                </a:cxn>
                <a:cxn ang="0">
                  <a:pos x="87" y="95"/>
                </a:cxn>
                <a:cxn ang="0">
                  <a:pos x="85" y="103"/>
                </a:cxn>
                <a:cxn ang="0">
                  <a:pos x="77" y="106"/>
                </a:cxn>
                <a:cxn ang="0">
                  <a:pos x="77" y="115"/>
                </a:cxn>
                <a:cxn ang="0">
                  <a:pos x="85" y="115"/>
                </a:cxn>
                <a:cxn ang="0">
                  <a:pos x="91" y="119"/>
                </a:cxn>
                <a:cxn ang="0">
                  <a:pos x="90" y="126"/>
                </a:cxn>
                <a:cxn ang="0">
                  <a:pos x="83" y="130"/>
                </a:cxn>
                <a:cxn ang="0">
                  <a:pos x="77" y="138"/>
                </a:cxn>
                <a:cxn ang="0">
                  <a:pos x="76" y="148"/>
                </a:cxn>
                <a:cxn ang="0">
                  <a:pos x="65" y="147"/>
                </a:cxn>
                <a:cxn ang="0">
                  <a:pos x="62" y="151"/>
                </a:cxn>
                <a:cxn ang="0">
                  <a:pos x="66" y="154"/>
                </a:cxn>
                <a:cxn ang="0">
                  <a:pos x="69" y="160"/>
                </a:cxn>
                <a:cxn ang="0">
                  <a:pos x="58" y="170"/>
                </a:cxn>
              </a:cxnLst>
              <a:rect l="0" t="0" r="r" b="b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auto">
            <a:xfrm rot="21439583">
              <a:off x="3356636" y="5584269"/>
              <a:ext cx="720080" cy="480213"/>
            </a:xfrm>
            <a:custGeom>
              <a:avLst/>
              <a:gdLst/>
              <a:ahLst/>
              <a:cxnLst>
                <a:cxn ang="0">
                  <a:pos x="46" y="101"/>
                </a:cxn>
                <a:cxn ang="0">
                  <a:pos x="41" y="97"/>
                </a:cxn>
                <a:cxn ang="0">
                  <a:pos x="35" y="93"/>
                </a:cxn>
                <a:cxn ang="0">
                  <a:pos x="28" y="92"/>
                </a:cxn>
                <a:cxn ang="0">
                  <a:pos x="26" y="87"/>
                </a:cxn>
                <a:cxn ang="0">
                  <a:pos x="19" y="80"/>
                </a:cxn>
                <a:cxn ang="0">
                  <a:pos x="10" y="78"/>
                </a:cxn>
                <a:cxn ang="0">
                  <a:pos x="10" y="73"/>
                </a:cxn>
                <a:cxn ang="0">
                  <a:pos x="4" y="70"/>
                </a:cxn>
                <a:cxn ang="0">
                  <a:pos x="0" y="61"/>
                </a:cxn>
                <a:cxn ang="0">
                  <a:pos x="1" y="57"/>
                </a:cxn>
                <a:cxn ang="0">
                  <a:pos x="10" y="49"/>
                </a:cxn>
                <a:cxn ang="0">
                  <a:pos x="19" y="49"/>
                </a:cxn>
                <a:cxn ang="0">
                  <a:pos x="35" y="49"/>
                </a:cxn>
                <a:cxn ang="0">
                  <a:pos x="36" y="43"/>
                </a:cxn>
                <a:cxn ang="0">
                  <a:pos x="44" y="43"/>
                </a:cxn>
                <a:cxn ang="0">
                  <a:pos x="50" y="39"/>
                </a:cxn>
                <a:cxn ang="0">
                  <a:pos x="57" y="32"/>
                </a:cxn>
                <a:cxn ang="0">
                  <a:pos x="66" y="37"/>
                </a:cxn>
                <a:cxn ang="0">
                  <a:pos x="66" y="31"/>
                </a:cxn>
                <a:cxn ang="0">
                  <a:pos x="74" y="31"/>
                </a:cxn>
                <a:cxn ang="0">
                  <a:pos x="76" y="25"/>
                </a:cxn>
                <a:cxn ang="0">
                  <a:pos x="84" y="24"/>
                </a:cxn>
                <a:cxn ang="0">
                  <a:pos x="87" y="17"/>
                </a:cxn>
                <a:cxn ang="0">
                  <a:pos x="93" y="15"/>
                </a:cxn>
                <a:cxn ang="0">
                  <a:pos x="101" y="9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114" y="9"/>
                </a:cxn>
                <a:cxn ang="0">
                  <a:pos x="120" y="9"/>
                </a:cxn>
                <a:cxn ang="0">
                  <a:pos x="123" y="13"/>
                </a:cxn>
                <a:cxn ang="0">
                  <a:pos x="118" y="17"/>
                </a:cxn>
                <a:cxn ang="0">
                  <a:pos x="122" y="20"/>
                </a:cxn>
                <a:cxn ang="0">
                  <a:pos x="127" y="22"/>
                </a:cxn>
                <a:cxn ang="0">
                  <a:pos x="128" y="28"/>
                </a:cxn>
                <a:cxn ang="0">
                  <a:pos x="126" y="36"/>
                </a:cxn>
                <a:cxn ang="0">
                  <a:pos x="119" y="38"/>
                </a:cxn>
                <a:cxn ang="0">
                  <a:pos x="119" y="46"/>
                </a:cxn>
                <a:cxn ang="0">
                  <a:pos x="112" y="43"/>
                </a:cxn>
                <a:cxn ang="0">
                  <a:pos x="110" y="49"/>
                </a:cxn>
                <a:cxn ang="0">
                  <a:pos x="97" y="48"/>
                </a:cxn>
                <a:cxn ang="0">
                  <a:pos x="99" y="59"/>
                </a:cxn>
                <a:cxn ang="0">
                  <a:pos x="87" y="58"/>
                </a:cxn>
                <a:cxn ang="0">
                  <a:pos x="88" y="73"/>
                </a:cxn>
                <a:cxn ang="0">
                  <a:pos x="78" y="72"/>
                </a:cxn>
                <a:cxn ang="0">
                  <a:pos x="66" y="70"/>
                </a:cxn>
                <a:cxn ang="0">
                  <a:pos x="59" y="72"/>
                </a:cxn>
                <a:cxn ang="0">
                  <a:pos x="49" y="80"/>
                </a:cxn>
                <a:cxn ang="0">
                  <a:pos x="42" y="86"/>
                </a:cxn>
                <a:cxn ang="0">
                  <a:pos x="46" y="101"/>
                </a:cxn>
              </a:cxnLst>
              <a:rect l="0" t="0" r="r" b="b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auto">
            <a:xfrm rot="21439583">
              <a:off x="3597638" y="5802537"/>
              <a:ext cx="702080" cy="461482"/>
            </a:xfrm>
            <a:custGeom>
              <a:avLst/>
              <a:gdLst/>
              <a:ahLst/>
              <a:cxnLst>
                <a:cxn ang="0">
                  <a:pos x="57" y="94"/>
                </a:cxn>
                <a:cxn ang="0">
                  <a:pos x="53" y="91"/>
                </a:cxn>
                <a:cxn ang="0">
                  <a:pos x="49" y="96"/>
                </a:cxn>
                <a:cxn ang="0">
                  <a:pos x="42" y="95"/>
                </a:cxn>
                <a:cxn ang="0">
                  <a:pos x="41" y="85"/>
                </a:cxn>
                <a:cxn ang="0">
                  <a:pos x="32" y="81"/>
                </a:cxn>
                <a:cxn ang="0">
                  <a:pos x="28" y="73"/>
                </a:cxn>
                <a:cxn ang="0">
                  <a:pos x="18" y="65"/>
                </a:cxn>
                <a:cxn ang="0">
                  <a:pos x="14" y="59"/>
                </a:cxn>
                <a:cxn ang="0">
                  <a:pos x="2" y="49"/>
                </a:cxn>
                <a:cxn ang="0">
                  <a:pos x="5" y="52"/>
                </a:cxn>
                <a:cxn ang="0">
                  <a:pos x="1" y="37"/>
                </a:cxn>
                <a:cxn ang="0">
                  <a:pos x="8" y="31"/>
                </a:cxn>
                <a:cxn ang="0">
                  <a:pos x="18" y="23"/>
                </a:cxn>
                <a:cxn ang="0">
                  <a:pos x="25" y="21"/>
                </a:cxn>
                <a:cxn ang="0">
                  <a:pos x="37" y="23"/>
                </a:cxn>
                <a:cxn ang="0">
                  <a:pos x="47" y="24"/>
                </a:cxn>
                <a:cxn ang="0">
                  <a:pos x="46" y="9"/>
                </a:cxn>
                <a:cxn ang="0">
                  <a:pos x="58" y="10"/>
                </a:cxn>
                <a:cxn ang="0">
                  <a:pos x="68" y="15"/>
                </a:cxn>
                <a:cxn ang="0">
                  <a:pos x="76" y="26"/>
                </a:cxn>
                <a:cxn ang="0">
                  <a:pos x="87" y="25"/>
                </a:cxn>
                <a:cxn ang="0">
                  <a:pos x="93" y="16"/>
                </a:cxn>
                <a:cxn ang="0">
                  <a:pos x="96" y="5"/>
                </a:cxn>
                <a:cxn ang="0">
                  <a:pos x="106" y="9"/>
                </a:cxn>
                <a:cxn ang="0">
                  <a:pos x="110" y="3"/>
                </a:cxn>
                <a:cxn ang="0">
                  <a:pos x="123" y="0"/>
                </a:cxn>
                <a:cxn ang="0">
                  <a:pos x="125" y="6"/>
                </a:cxn>
                <a:cxn ang="0">
                  <a:pos x="120" y="11"/>
                </a:cxn>
                <a:cxn ang="0">
                  <a:pos x="123" y="32"/>
                </a:cxn>
                <a:cxn ang="0">
                  <a:pos x="116" y="39"/>
                </a:cxn>
                <a:cxn ang="0">
                  <a:pos x="107" y="39"/>
                </a:cxn>
                <a:cxn ang="0">
                  <a:pos x="101" y="45"/>
                </a:cxn>
                <a:cxn ang="0">
                  <a:pos x="99" y="56"/>
                </a:cxn>
                <a:cxn ang="0">
                  <a:pos x="93" y="56"/>
                </a:cxn>
                <a:cxn ang="0">
                  <a:pos x="94" y="66"/>
                </a:cxn>
                <a:cxn ang="0">
                  <a:pos x="88" y="68"/>
                </a:cxn>
                <a:cxn ang="0">
                  <a:pos x="86" y="80"/>
                </a:cxn>
                <a:cxn ang="0">
                  <a:pos x="72" y="85"/>
                </a:cxn>
                <a:cxn ang="0">
                  <a:pos x="70" y="91"/>
                </a:cxn>
                <a:cxn ang="0">
                  <a:pos x="57" y="94"/>
                </a:cxn>
              </a:cxnLst>
              <a:rect l="0" t="0" r="r" b="b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auto">
            <a:xfrm rot="21439583">
              <a:off x="3921661" y="5939952"/>
              <a:ext cx="492055" cy="475105"/>
            </a:xfrm>
            <a:custGeom>
              <a:avLst/>
              <a:gdLst/>
              <a:ahLst/>
              <a:cxnLst>
                <a:cxn ang="0">
                  <a:pos x="18" y="84"/>
                </a:cxn>
                <a:cxn ang="0">
                  <a:pos x="15" y="82"/>
                </a:cxn>
                <a:cxn ang="0">
                  <a:pos x="0" y="64"/>
                </a:cxn>
                <a:cxn ang="0">
                  <a:pos x="13" y="61"/>
                </a:cxn>
                <a:cxn ang="0">
                  <a:pos x="15" y="55"/>
                </a:cxn>
                <a:cxn ang="0">
                  <a:pos x="29" y="50"/>
                </a:cxn>
                <a:cxn ang="0">
                  <a:pos x="31" y="38"/>
                </a:cxn>
                <a:cxn ang="0">
                  <a:pos x="37" y="36"/>
                </a:cxn>
                <a:cxn ang="0">
                  <a:pos x="36" y="26"/>
                </a:cxn>
                <a:cxn ang="0">
                  <a:pos x="42" y="26"/>
                </a:cxn>
                <a:cxn ang="0">
                  <a:pos x="44" y="15"/>
                </a:cxn>
                <a:cxn ang="0">
                  <a:pos x="50" y="9"/>
                </a:cxn>
                <a:cxn ang="0">
                  <a:pos x="59" y="9"/>
                </a:cxn>
                <a:cxn ang="0">
                  <a:pos x="66" y="2"/>
                </a:cxn>
                <a:cxn ang="0">
                  <a:pos x="66" y="0"/>
                </a:cxn>
                <a:cxn ang="0">
                  <a:pos x="73" y="2"/>
                </a:cxn>
                <a:cxn ang="0">
                  <a:pos x="80" y="7"/>
                </a:cxn>
                <a:cxn ang="0">
                  <a:pos x="81" y="18"/>
                </a:cxn>
                <a:cxn ang="0">
                  <a:pos x="86" y="24"/>
                </a:cxn>
                <a:cxn ang="0">
                  <a:pos x="88" y="30"/>
                </a:cxn>
                <a:cxn ang="0">
                  <a:pos x="86" y="37"/>
                </a:cxn>
                <a:cxn ang="0">
                  <a:pos x="80" y="47"/>
                </a:cxn>
                <a:cxn ang="0">
                  <a:pos x="73" y="49"/>
                </a:cxn>
                <a:cxn ang="0">
                  <a:pos x="64" y="52"/>
                </a:cxn>
                <a:cxn ang="0">
                  <a:pos x="55" y="56"/>
                </a:cxn>
                <a:cxn ang="0">
                  <a:pos x="53" y="62"/>
                </a:cxn>
                <a:cxn ang="0">
                  <a:pos x="70" y="62"/>
                </a:cxn>
                <a:cxn ang="0">
                  <a:pos x="71" y="68"/>
                </a:cxn>
                <a:cxn ang="0">
                  <a:pos x="78" y="70"/>
                </a:cxn>
                <a:cxn ang="0">
                  <a:pos x="74" y="77"/>
                </a:cxn>
                <a:cxn ang="0">
                  <a:pos x="67" y="84"/>
                </a:cxn>
                <a:cxn ang="0">
                  <a:pos x="66" y="90"/>
                </a:cxn>
                <a:cxn ang="0">
                  <a:pos x="65" y="98"/>
                </a:cxn>
                <a:cxn ang="0">
                  <a:pos x="57" y="96"/>
                </a:cxn>
                <a:cxn ang="0">
                  <a:pos x="50" y="92"/>
                </a:cxn>
                <a:cxn ang="0">
                  <a:pos x="42" y="90"/>
                </a:cxn>
                <a:cxn ang="0">
                  <a:pos x="35" y="89"/>
                </a:cxn>
                <a:cxn ang="0">
                  <a:pos x="29" y="82"/>
                </a:cxn>
                <a:cxn ang="0">
                  <a:pos x="18" y="84"/>
                </a:cxn>
              </a:cxnLst>
              <a:rect l="0" t="0" r="r" b="b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2" name="Freeform 18"/>
            <p:cNvSpPr>
              <a:spLocks/>
            </p:cNvSpPr>
            <p:nvPr/>
          </p:nvSpPr>
          <p:spPr bwMode="auto">
            <a:xfrm rot="21439583">
              <a:off x="4291159" y="6194786"/>
              <a:ext cx="252028" cy="23159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2" y="8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33" y="8"/>
                </a:cxn>
                <a:cxn ang="0">
                  <a:pos x="35" y="16"/>
                </a:cxn>
                <a:cxn ang="0">
                  <a:pos x="44" y="21"/>
                </a:cxn>
                <a:cxn ang="0">
                  <a:pos x="42" y="34"/>
                </a:cxn>
                <a:cxn ang="0">
                  <a:pos x="35" y="37"/>
                </a:cxn>
                <a:cxn ang="0">
                  <a:pos x="37" y="49"/>
                </a:cxn>
                <a:cxn ang="0">
                  <a:pos x="34" y="48"/>
                </a:cxn>
                <a:cxn ang="0">
                  <a:pos x="19" y="48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1" y="33"/>
                </a:cxn>
                <a:cxn ang="0">
                  <a:pos x="2" y="27"/>
                </a:cxn>
                <a:cxn ang="0">
                  <a:pos x="9" y="20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1"/>
                </a:cxn>
              </a:cxnLst>
              <a:rect l="0" t="0" r="r" b="b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3" name="Freeform 19"/>
            <p:cNvSpPr>
              <a:spLocks/>
            </p:cNvSpPr>
            <p:nvPr/>
          </p:nvSpPr>
          <p:spPr bwMode="auto">
            <a:xfrm rot="21439583">
              <a:off x="4037849" y="6311045"/>
              <a:ext cx="860096" cy="405286"/>
            </a:xfrm>
            <a:custGeom>
              <a:avLst/>
              <a:gdLst/>
              <a:ahLst/>
              <a:cxnLst>
                <a:cxn ang="0">
                  <a:pos x="154" y="30"/>
                </a:cxn>
                <a:cxn ang="0">
                  <a:pos x="142" y="32"/>
                </a:cxn>
                <a:cxn ang="0">
                  <a:pos x="126" y="33"/>
                </a:cxn>
                <a:cxn ang="0">
                  <a:pos x="58" y="32"/>
                </a:cxn>
                <a:cxn ang="0">
                  <a:pos x="114" y="58"/>
                </a:cxn>
                <a:cxn ang="0">
                  <a:pos x="116" y="64"/>
                </a:cxn>
                <a:cxn ang="0">
                  <a:pos x="113" y="72"/>
                </a:cxn>
                <a:cxn ang="0">
                  <a:pos x="88" y="72"/>
                </a:cxn>
                <a:cxn ang="0">
                  <a:pos x="87" y="78"/>
                </a:cxn>
                <a:cxn ang="0">
                  <a:pos x="80" y="78"/>
                </a:cxn>
                <a:cxn ang="0">
                  <a:pos x="76" y="84"/>
                </a:cxn>
                <a:cxn ang="0">
                  <a:pos x="67" y="82"/>
                </a:cxn>
                <a:cxn ang="0">
                  <a:pos x="65" y="74"/>
                </a:cxn>
                <a:cxn ang="0">
                  <a:pos x="63" y="55"/>
                </a:cxn>
                <a:cxn ang="0">
                  <a:pos x="43" y="57"/>
                </a:cxn>
                <a:cxn ang="0">
                  <a:pos x="33" y="49"/>
                </a:cxn>
                <a:cxn ang="0">
                  <a:pos x="34" y="26"/>
                </a:cxn>
                <a:cxn ang="0">
                  <a:pos x="29" y="17"/>
                </a:cxn>
                <a:cxn ang="0">
                  <a:pos x="18" y="15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2" y="0"/>
                </a:cxn>
                <a:cxn ang="0">
                  <a:pos x="18" y="7"/>
                </a:cxn>
                <a:cxn ang="0">
                  <a:pos x="25" y="8"/>
                </a:cxn>
                <a:cxn ang="0">
                  <a:pos x="33" y="10"/>
                </a:cxn>
                <a:cxn ang="0">
                  <a:pos x="40" y="14"/>
                </a:cxn>
                <a:cxn ang="0">
                  <a:pos x="48" y="16"/>
                </a:cxn>
                <a:cxn ang="0">
                  <a:pos x="56" y="22"/>
                </a:cxn>
                <a:cxn ang="0">
                  <a:pos x="67" y="23"/>
                </a:cxn>
                <a:cxn ang="0">
                  <a:pos x="82" y="23"/>
                </a:cxn>
                <a:cxn ang="0">
                  <a:pos x="154" y="30"/>
                </a:cxn>
              </a:cxnLst>
              <a:rect l="0" t="0" r="r" b="b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auto">
            <a:xfrm rot="21439583">
              <a:off x="3440681" y="5018480"/>
              <a:ext cx="586066" cy="618146"/>
            </a:xfrm>
            <a:custGeom>
              <a:avLst/>
              <a:gdLst/>
              <a:ahLst/>
              <a:cxnLst>
                <a:cxn ang="0">
                  <a:pos x="16" y="130"/>
                </a:cxn>
                <a:cxn ang="0">
                  <a:pos x="24" y="128"/>
                </a:cxn>
                <a:cxn ang="0">
                  <a:pos x="24" y="122"/>
                </a:cxn>
                <a:cxn ang="0">
                  <a:pos x="28" y="120"/>
                </a:cxn>
                <a:cxn ang="0">
                  <a:pos x="28" y="109"/>
                </a:cxn>
                <a:cxn ang="0">
                  <a:pos x="44" y="106"/>
                </a:cxn>
                <a:cxn ang="0">
                  <a:pos x="49" y="102"/>
                </a:cxn>
                <a:cxn ang="0">
                  <a:pos x="61" y="102"/>
                </a:cxn>
                <a:cxn ang="0">
                  <a:pos x="69" y="95"/>
                </a:cxn>
                <a:cxn ang="0">
                  <a:pos x="73" y="86"/>
                </a:cxn>
                <a:cxn ang="0">
                  <a:pos x="81" y="84"/>
                </a:cxn>
                <a:cxn ang="0">
                  <a:pos x="84" y="78"/>
                </a:cxn>
                <a:cxn ang="0">
                  <a:pos x="83" y="71"/>
                </a:cxn>
                <a:cxn ang="0">
                  <a:pos x="89" y="65"/>
                </a:cxn>
                <a:cxn ang="0">
                  <a:pos x="101" y="65"/>
                </a:cxn>
                <a:cxn ang="0">
                  <a:pos x="100" y="53"/>
                </a:cxn>
                <a:cxn ang="0">
                  <a:pos x="101" y="46"/>
                </a:cxn>
                <a:cxn ang="0">
                  <a:pos x="104" y="39"/>
                </a:cxn>
                <a:cxn ang="0">
                  <a:pos x="105" y="23"/>
                </a:cxn>
                <a:cxn ang="0">
                  <a:pos x="103" y="22"/>
                </a:cxn>
                <a:cxn ang="0">
                  <a:pos x="98" y="13"/>
                </a:cxn>
                <a:cxn ang="0">
                  <a:pos x="88" y="13"/>
                </a:cxn>
                <a:cxn ang="0">
                  <a:pos x="82" y="1"/>
                </a:cxn>
                <a:cxn ang="0">
                  <a:pos x="75" y="6"/>
                </a:cxn>
                <a:cxn ang="0">
                  <a:pos x="58" y="3"/>
                </a:cxn>
                <a:cxn ang="0">
                  <a:pos x="53" y="11"/>
                </a:cxn>
                <a:cxn ang="0">
                  <a:pos x="44" y="13"/>
                </a:cxn>
                <a:cxn ang="0">
                  <a:pos x="40" y="22"/>
                </a:cxn>
                <a:cxn ang="0">
                  <a:pos x="32" y="15"/>
                </a:cxn>
                <a:cxn ang="0">
                  <a:pos x="32" y="15"/>
                </a:cxn>
                <a:cxn ang="0">
                  <a:pos x="28" y="20"/>
                </a:cxn>
                <a:cxn ang="0">
                  <a:pos x="30" y="26"/>
                </a:cxn>
                <a:cxn ang="0">
                  <a:pos x="22" y="27"/>
                </a:cxn>
                <a:cxn ang="0">
                  <a:pos x="12" y="32"/>
                </a:cxn>
                <a:cxn ang="0">
                  <a:pos x="13" y="40"/>
                </a:cxn>
                <a:cxn ang="0">
                  <a:pos x="22" y="40"/>
                </a:cxn>
                <a:cxn ang="0">
                  <a:pos x="23" y="47"/>
                </a:cxn>
                <a:cxn ang="0">
                  <a:pos x="30" y="50"/>
                </a:cxn>
                <a:cxn ang="0">
                  <a:pos x="32" y="61"/>
                </a:cxn>
                <a:cxn ang="0">
                  <a:pos x="29" y="68"/>
                </a:cxn>
                <a:cxn ang="0">
                  <a:pos x="25" y="69"/>
                </a:cxn>
                <a:cxn ang="0">
                  <a:pos x="26" y="79"/>
                </a:cxn>
                <a:cxn ang="0">
                  <a:pos x="22" y="83"/>
                </a:cxn>
                <a:cxn ang="0">
                  <a:pos x="7" y="86"/>
                </a:cxn>
                <a:cxn ang="0">
                  <a:pos x="6" y="92"/>
                </a:cxn>
                <a:cxn ang="0">
                  <a:pos x="16" y="95"/>
                </a:cxn>
                <a:cxn ang="0">
                  <a:pos x="19" y="100"/>
                </a:cxn>
                <a:cxn ang="0">
                  <a:pos x="12" y="101"/>
                </a:cxn>
                <a:cxn ang="0">
                  <a:pos x="10" y="109"/>
                </a:cxn>
                <a:cxn ang="0">
                  <a:pos x="2" y="112"/>
                </a:cxn>
                <a:cxn ang="0">
                  <a:pos x="2" y="121"/>
                </a:cxn>
                <a:cxn ang="0">
                  <a:pos x="10" y="121"/>
                </a:cxn>
                <a:cxn ang="0">
                  <a:pos x="16" y="125"/>
                </a:cxn>
                <a:cxn ang="0">
                  <a:pos x="16" y="130"/>
                </a:cxn>
              </a:cxnLst>
              <a:rect l="0" t="0" r="r" b="b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6" name="Freeform 21"/>
            <p:cNvSpPr>
              <a:spLocks/>
            </p:cNvSpPr>
            <p:nvPr/>
          </p:nvSpPr>
          <p:spPr bwMode="auto">
            <a:xfrm rot="21439583">
              <a:off x="3372990" y="5323439"/>
              <a:ext cx="688076" cy="502351"/>
            </a:xfrm>
            <a:custGeom>
              <a:avLst/>
              <a:gdLst/>
              <a:ahLst/>
              <a:cxnLst>
                <a:cxn ang="0">
                  <a:pos x="29" y="66"/>
                </a:cxn>
                <a:cxn ang="0">
                  <a:pos x="37" y="64"/>
                </a:cxn>
                <a:cxn ang="0">
                  <a:pos x="37" y="58"/>
                </a:cxn>
                <a:cxn ang="0">
                  <a:pos x="41" y="56"/>
                </a:cxn>
                <a:cxn ang="0">
                  <a:pos x="41" y="45"/>
                </a:cxn>
                <a:cxn ang="0">
                  <a:pos x="57" y="42"/>
                </a:cxn>
                <a:cxn ang="0">
                  <a:pos x="62" y="38"/>
                </a:cxn>
                <a:cxn ang="0">
                  <a:pos x="74" y="38"/>
                </a:cxn>
                <a:cxn ang="0">
                  <a:pos x="82" y="31"/>
                </a:cxn>
                <a:cxn ang="0">
                  <a:pos x="86" y="22"/>
                </a:cxn>
                <a:cxn ang="0">
                  <a:pos x="94" y="20"/>
                </a:cxn>
                <a:cxn ang="0">
                  <a:pos x="97" y="14"/>
                </a:cxn>
                <a:cxn ang="0">
                  <a:pos x="96" y="7"/>
                </a:cxn>
                <a:cxn ang="0">
                  <a:pos x="102" y="1"/>
                </a:cxn>
                <a:cxn ang="0">
                  <a:pos x="112" y="2"/>
                </a:cxn>
                <a:cxn ang="0">
                  <a:pos x="114" y="8"/>
                </a:cxn>
                <a:cxn ang="0">
                  <a:pos x="119" y="13"/>
                </a:cxn>
                <a:cxn ang="0">
                  <a:pos x="123" y="20"/>
                </a:cxn>
                <a:cxn ang="0">
                  <a:pos x="118" y="28"/>
                </a:cxn>
                <a:cxn ang="0">
                  <a:pos x="111" y="33"/>
                </a:cxn>
                <a:cxn ang="0">
                  <a:pos x="115" y="40"/>
                </a:cxn>
                <a:cxn ang="0">
                  <a:pos x="116" y="48"/>
                </a:cxn>
                <a:cxn ang="0">
                  <a:pos x="112" y="55"/>
                </a:cxn>
                <a:cxn ang="0">
                  <a:pos x="104" y="54"/>
                </a:cxn>
                <a:cxn ang="0">
                  <a:pos x="104" y="60"/>
                </a:cxn>
                <a:cxn ang="0">
                  <a:pos x="96" y="64"/>
                </a:cxn>
                <a:cxn ang="0">
                  <a:pos x="88" y="70"/>
                </a:cxn>
                <a:cxn ang="0">
                  <a:pos x="82" y="72"/>
                </a:cxn>
                <a:cxn ang="0">
                  <a:pos x="79" y="79"/>
                </a:cxn>
                <a:cxn ang="0">
                  <a:pos x="71" y="80"/>
                </a:cxn>
                <a:cxn ang="0">
                  <a:pos x="69" y="86"/>
                </a:cxn>
                <a:cxn ang="0">
                  <a:pos x="61" y="86"/>
                </a:cxn>
                <a:cxn ang="0">
                  <a:pos x="61" y="92"/>
                </a:cxn>
                <a:cxn ang="0">
                  <a:pos x="52" y="87"/>
                </a:cxn>
                <a:cxn ang="0">
                  <a:pos x="45" y="94"/>
                </a:cxn>
                <a:cxn ang="0">
                  <a:pos x="39" y="98"/>
                </a:cxn>
                <a:cxn ang="0">
                  <a:pos x="31" y="98"/>
                </a:cxn>
                <a:cxn ang="0">
                  <a:pos x="30" y="104"/>
                </a:cxn>
                <a:cxn ang="0">
                  <a:pos x="14" y="104"/>
                </a:cxn>
                <a:cxn ang="0">
                  <a:pos x="5" y="104"/>
                </a:cxn>
                <a:cxn ang="0">
                  <a:pos x="7" y="102"/>
                </a:cxn>
                <a:cxn ang="0">
                  <a:pos x="4" y="96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4" y="90"/>
                </a:cxn>
                <a:cxn ang="0">
                  <a:pos x="15" y="80"/>
                </a:cxn>
                <a:cxn ang="0">
                  <a:pos x="21" y="72"/>
                </a:cxn>
                <a:cxn ang="0">
                  <a:pos x="28" y="68"/>
                </a:cxn>
                <a:cxn ang="0">
                  <a:pos x="29" y="66"/>
                </a:cxn>
              </a:cxnLst>
              <a:rect l="0" t="0" r="r" b="b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7" name="Freeform 24"/>
            <p:cNvSpPr>
              <a:spLocks noEditPoints="1"/>
            </p:cNvSpPr>
            <p:nvPr/>
          </p:nvSpPr>
          <p:spPr bwMode="auto">
            <a:xfrm rot="21439583">
              <a:off x="3976640" y="4919448"/>
              <a:ext cx="296033" cy="664125"/>
            </a:xfrm>
            <a:custGeom>
              <a:avLst/>
              <a:gdLst/>
              <a:ahLst/>
              <a:cxnLst>
                <a:cxn ang="0">
                  <a:pos x="45" y="7"/>
                </a:cxn>
                <a:cxn ang="0">
                  <a:pos x="49" y="13"/>
                </a:cxn>
                <a:cxn ang="0">
                  <a:pos x="51" y="21"/>
                </a:cxn>
                <a:cxn ang="0">
                  <a:pos x="52" y="30"/>
                </a:cxn>
                <a:cxn ang="0">
                  <a:pos x="45" y="33"/>
                </a:cxn>
                <a:cxn ang="0">
                  <a:pos x="38" y="43"/>
                </a:cxn>
                <a:cxn ang="0">
                  <a:pos x="35" y="53"/>
                </a:cxn>
                <a:cxn ang="0">
                  <a:pos x="37" y="64"/>
                </a:cxn>
                <a:cxn ang="0">
                  <a:pos x="43" y="74"/>
                </a:cxn>
                <a:cxn ang="0">
                  <a:pos x="45" y="84"/>
                </a:cxn>
                <a:cxn ang="0">
                  <a:pos x="39" y="97"/>
                </a:cxn>
                <a:cxn ang="0">
                  <a:pos x="33" y="105"/>
                </a:cxn>
                <a:cxn ang="0">
                  <a:pos x="28" y="113"/>
                </a:cxn>
                <a:cxn ang="0">
                  <a:pos x="38" y="124"/>
                </a:cxn>
                <a:cxn ang="0">
                  <a:pos x="38" y="139"/>
                </a:cxn>
                <a:cxn ang="0">
                  <a:pos x="35" y="139"/>
                </a:cxn>
                <a:cxn ang="0">
                  <a:pos x="29" y="139"/>
                </a:cxn>
                <a:cxn ang="0">
                  <a:pos x="24" y="136"/>
                </a:cxn>
                <a:cxn ang="0">
                  <a:pos x="25" y="124"/>
                </a:cxn>
                <a:cxn ang="0">
                  <a:pos x="16" y="122"/>
                </a:cxn>
                <a:cxn ang="0">
                  <a:pos x="5" y="124"/>
                </a:cxn>
                <a:cxn ang="0">
                  <a:pos x="5" y="122"/>
                </a:cxn>
                <a:cxn ang="0">
                  <a:pos x="1" y="115"/>
                </a:cxn>
                <a:cxn ang="0">
                  <a:pos x="8" y="110"/>
                </a:cxn>
                <a:cxn ang="0">
                  <a:pos x="13" y="102"/>
                </a:cxn>
                <a:cxn ang="0">
                  <a:pos x="9" y="95"/>
                </a:cxn>
                <a:cxn ang="0">
                  <a:pos x="4" y="90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4" y="83"/>
                </a:cxn>
                <a:cxn ang="0">
                  <a:pos x="3" y="71"/>
                </a:cxn>
                <a:cxn ang="0">
                  <a:pos x="4" y="64"/>
                </a:cxn>
                <a:cxn ang="0">
                  <a:pos x="7" y="57"/>
                </a:cxn>
                <a:cxn ang="0">
                  <a:pos x="8" y="41"/>
                </a:cxn>
                <a:cxn ang="0">
                  <a:pos x="13" y="38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6" y="2"/>
                </a:cxn>
                <a:cxn ang="0">
                  <a:pos x="22" y="2"/>
                </a:cxn>
                <a:cxn ang="0">
                  <a:pos x="26" y="11"/>
                </a:cxn>
                <a:cxn ang="0">
                  <a:pos x="38" y="10"/>
                </a:cxn>
                <a:cxn ang="0">
                  <a:pos x="45" y="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5" y="124"/>
                </a:cxn>
                <a:cxn ang="0">
                  <a:pos x="6" y="127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41"/>
                </a:cxn>
              </a:cxnLst>
              <a:rect l="0" t="0" r="r" b="b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lnTo>
                    <a:pt x="2" y="84"/>
                  </a:ln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8" name="Freeform 25"/>
            <p:cNvSpPr>
              <a:spLocks noEditPoints="1"/>
            </p:cNvSpPr>
            <p:nvPr/>
          </p:nvSpPr>
          <p:spPr bwMode="auto">
            <a:xfrm rot="21439583">
              <a:off x="4380244" y="5896375"/>
              <a:ext cx="786088" cy="556842"/>
            </a:xfrm>
            <a:custGeom>
              <a:avLst/>
              <a:gdLst/>
              <a:ahLst/>
              <a:cxnLst>
                <a:cxn ang="0">
                  <a:pos x="141" y="53"/>
                </a:cxn>
                <a:cxn ang="0">
                  <a:pos x="131" y="59"/>
                </a:cxn>
                <a:cxn ang="0">
                  <a:pos x="128" y="68"/>
                </a:cxn>
                <a:cxn ang="0">
                  <a:pos x="125" y="78"/>
                </a:cxn>
                <a:cxn ang="0">
                  <a:pos x="117" y="88"/>
                </a:cxn>
                <a:cxn ang="0">
                  <a:pos x="114" y="96"/>
                </a:cxn>
                <a:cxn ang="0">
                  <a:pos x="104" y="105"/>
                </a:cxn>
                <a:cxn ang="0">
                  <a:pos x="91" y="114"/>
                </a:cxn>
                <a:cxn ang="0">
                  <a:pos x="89" y="115"/>
                </a:cxn>
                <a:cxn ang="0">
                  <a:pos x="17" y="108"/>
                </a:cxn>
                <a:cxn ang="0">
                  <a:pos x="20" y="109"/>
                </a:cxn>
                <a:cxn ang="0">
                  <a:pos x="18" y="97"/>
                </a:cxn>
                <a:cxn ang="0">
                  <a:pos x="25" y="94"/>
                </a:cxn>
                <a:cxn ang="0">
                  <a:pos x="27" y="81"/>
                </a:cxn>
                <a:cxn ang="0">
                  <a:pos x="18" y="76"/>
                </a:cxn>
                <a:cxn ang="0">
                  <a:pos x="16" y="68"/>
                </a:cxn>
                <a:cxn ang="0">
                  <a:pos x="8" y="65"/>
                </a:cxn>
                <a:cxn ang="0">
                  <a:pos x="4" y="60"/>
                </a:cxn>
                <a:cxn ang="0">
                  <a:pos x="19" y="56"/>
                </a:cxn>
                <a:cxn ang="0">
                  <a:pos x="4" y="40"/>
                </a:cxn>
                <a:cxn ang="0">
                  <a:pos x="6" y="33"/>
                </a:cxn>
                <a:cxn ang="0">
                  <a:pos x="11" y="27"/>
                </a:cxn>
                <a:cxn ang="0">
                  <a:pos x="12" y="9"/>
                </a:cxn>
                <a:cxn ang="0">
                  <a:pos x="18" y="2"/>
                </a:cxn>
                <a:cxn ang="0">
                  <a:pos x="39" y="1"/>
                </a:cxn>
                <a:cxn ang="0">
                  <a:pos x="40" y="6"/>
                </a:cxn>
                <a:cxn ang="0">
                  <a:pos x="34" y="11"/>
                </a:cxn>
                <a:cxn ang="0">
                  <a:pos x="35" y="20"/>
                </a:cxn>
                <a:cxn ang="0">
                  <a:pos x="41" y="20"/>
                </a:cxn>
                <a:cxn ang="0">
                  <a:pos x="45" y="26"/>
                </a:cxn>
                <a:cxn ang="0">
                  <a:pos x="44" y="32"/>
                </a:cxn>
                <a:cxn ang="0">
                  <a:pos x="53" y="45"/>
                </a:cxn>
                <a:cxn ang="0">
                  <a:pos x="59" y="51"/>
                </a:cxn>
                <a:cxn ang="0">
                  <a:pos x="63" y="57"/>
                </a:cxn>
                <a:cxn ang="0">
                  <a:pos x="71" y="58"/>
                </a:cxn>
                <a:cxn ang="0">
                  <a:pos x="79" y="51"/>
                </a:cxn>
                <a:cxn ang="0">
                  <a:pos x="80" y="44"/>
                </a:cxn>
                <a:cxn ang="0">
                  <a:pos x="86" y="39"/>
                </a:cxn>
                <a:cxn ang="0">
                  <a:pos x="91" y="43"/>
                </a:cxn>
                <a:cxn ang="0">
                  <a:pos x="107" y="40"/>
                </a:cxn>
                <a:cxn ang="0">
                  <a:pos x="111" y="47"/>
                </a:cxn>
                <a:cxn ang="0">
                  <a:pos x="118" y="56"/>
                </a:cxn>
                <a:cxn ang="0">
                  <a:pos x="128" y="53"/>
                </a:cxn>
                <a:cxn ang="0">
                  <a:pos x="141" y="53"/>
                </a:cxn>
                <a:cxn ang="0">
                  <a:pos x="1" y="62"/>
                </a:cxn>
                <a:cxn ang="0">
                  <a:pos x="1" y="62"/>
                </a:cxn>
              </a:cxnLst>
              <a:rect l="0" t="0" r="r" b="b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9" name="Freeform 26"/>
            <p:cNvSpPr>
              <a:spLocks noEditPoints="1"/>
            </p:cNvSpPr>
            <p:nvPr/>
          </p:nvSpPr>
          <p:spPr bwMode="auto">
            <a:xfrm rot="21439583">
              <a:off x="4440373" y="3717130"/>
              <a:ext cx="854096" cy="1064302"/>
            </a:xfrm>
            <a:custGeom>
              <a:avLst/>
              <a:gdLst/>
              <a:ahLst/>
              <a:cxnLst>
                <a:cxn ang="0">
                  <a:pos x="151" y="126"/>
                </a:cxn>
                <a:cxn ang="0">
                  <a:pos x="149" y="137"/>
                </a:cxn>
                <a:cxn ang="0">
                  <a:pos x="140" y="167"/>
                </a:cxn>
                <a:cxn ang="0">
                  <a:pos x="136" y="192"/>
                </a:cxn>
                <a:cxn ang="0">
                  <a:pos x="128" y="209"/>
                </a:cxn>
                <a:cxn ang="0">
                  <a:pos x="95" y="211"/>
                </a:cxn>
                <a:cxn ang="0">
                  <a:pos x="78" y="220"/>
                </a:cxn>
                <a:cxn ang="0">
                  <a:pos x="65" y="215"/>
                </a:cxn>
                <a:cxn ang="0">
                  <a:pos x="55" y="219"/>
                </a:cxn>
                <a:cxn ang="0">
                  <a:pos x="41" y="216"/>
                </a:cxn>
                <a:cxn ang="0">
                  <a:pos x="41" y="201"/>
                </a:cxn>
                <a:cxn ang="0">
                  <a:pos x="39" y="184"/>
                </a:cxn>
                <a:cxn ang="0">
                  <a:pos x="37" y="170"/>
                </a:cxn>
                <a:cxn ang="0">
                  <a:pos x="27" y="153"/>
                </a:cxn>
                <a:cxn ang="0">
                  <a:pos x="26" y="129"/>
                </a:cxn>
                <a:cxn ang="0">
                  <a:pos x="17" y="111"/>
                </a:cxn>
                <a:cxn ang="0">
                  <a:pos x="18" y="89"/>
                </a:cxn>
                <a:cxn ang="0">
                  <a:pos x="14" y="7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19" y="50"/>
                </a:cxn>
                <a:cxn ang="0">
                  <a:pos x="32" y="32"/>
                </a:cxn>
                <a:cxn ang="0">
                  <a:pos x="33" y="41"/>
                </a:cxn>
                <a:cxn ang="0">
                  <a:pos x="48" y="51"/>
                </a:cxn>
                <a:cxn ang="0">
                  <a:pos x="63" y="51"/>
                </a:cxn>
                <a:cxn ang="0">
                  <a:pos x="72" y="18"/>
                </a:cxn>
                <a:cxn ang="0">
                  <a:pos x="94" y="11"/>
                </a:cxn>
                <a:cxn ang="0">
                  <a:pos x="124" y="3"/>
                </a:cxn>
                <a:cxn ang="0">
                  <a:pos x="130" y="3"/>
                </a:cxn>
                <a:cxn ang="0">
                  <a:pos x="143" y="30"/>
                </a:cxn>
                <a:cxn ang="0">
                  <a:pos x="146" y="48"/>
                </a:cxn>
                <a:cxn ang="0">
                  <a:pos x="137" y="59"/>
                </a:cxn>
                <a:cxn ang="0">
                  <a:pos x="140" y="84"/>
                </a:cxn>
                <a:cxn ang="0">
                  <a:pos x="134" y="101"/>
                </a:cxn>
                <a:cxn ang="0">
                  <a:pos x="133" y="123"/>
                </a:cxn>
                <a:cxn ang="0">
                  <a:pos x="130" y="3"/>
                </a:cxn>
                <a:cxn ang="0">
                  <a:pos x="130" y="3"/>
                </a:cxn>
                <a:cxn ang="0">
                  <a:pos x="130" y="1"/>
                </a:cxn>
                <a:cxn ang="0">
                  <a:pos x="130" y="1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28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2" y="46"/>
                </a:cxn>
              </a:cxnLst>
              <a:rect l="0" t="0" r="r" b="b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lnTo>
                    <a:pt x="41" y="216"/>
                  </a:ln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lnTo>
                    <a:pt x="8" y="48"/>
                  </a:ln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lnTo>
                    <a:pt x="130" y="3"/>
                  </a:ln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0" name="Freeform 27"/>
            <p:cNvSpPr>
              <a:spLocks noEditPoints="1"/>
            </p:cNvSpPr>
            <p:nvPr/>
          </p:nvSpPr>
          <p:spPr bwMode="auto">
            <a:xfrm rot="21439583">
              <a:off x="4121880" y="4514989"/>
              <a:ext cx="620069" cy="1168178"/>
            </a:xfrm>
            <a:custGeom>
              <a:avLst/>
              <a:gdLst/>
              <a:ahLst/>
              <a:cxnLst>
                <a:cxn ang="0">
                  <a:pos x="29" y="37"/>
                </a:cxn>
                <a:cxn ang="0">
                  <a:pos x="29" y="57"/>
                </a:cxn>
                <a:cxn ang="0">
                  <a:pos x="29" y="84"/>
                </a:cxn>
                <a:cxn ang="0">
                  <a:pos x="22" y="95"/>
                </a:cxn>
                <a:cxn ang="0">
                  <a:pos x="25" y="112"/>
                </a:cxn>
                <a:cxn ang="0">
                  <a:pos x="11" y="125"/>
                </a:cxn>
                <a:cxn ang="0">
                  <a:pos x="10" y="146"/>
                </a:cxn>
                <a:cxn ang="0">
                  <a:pos x="18" y="166"/>
                </a:cxn>
                <a:cxn ang="0">
                  <a:pos x="6" y="187"/>
                </a:cxn>
                <a:cxn ang="0">
                  <a:pos x="11" y="206"/>
                </a:cxn>
                <a:cxn ang="0">
                  <a:pos x="17" y="223"/>
                </a:cxn>
                <a:cxn ang="0">
                  <a:pos x="21" y="239"/>
                </a:cxn>
                <a:cxn ang="0">
                  <a:pos x="30" y="236"/>
                </a:cxn>
                <a:cxn ang="0">
                  <a:pos x="45" y="226"/>
                </a:cxn>
                <a:cxn ang="0">
                  <a:pos x="60" y="215"/>
                </a:cxn>
                <a:cxn ang="0">
                  <a:pos x="69" y="204"/>
                </a:cxn>
                <a:cxn ang="0">
                  <a:pos x="68" y="195"/>
                </a:cxn>
                <a:cxn ang="0">
                  <a:pos x="57" y="176"/>
                </a:cxn>
                <a:cxn ang="0">
                  <a:pos x="60" y="153"/>
                </a:cxn>
                <a:cxn ang="0">
                  <a:pos x="58" y="127"/>
                </a:cxn>
                <a:cxn ang="0">
                  <a:pos x="76" y="116"/>
                </a:cxn>
                <a:cxn ang="0">
                  <a:pos x="76" y="100"/>
                </a:cxn>
                <a:cxn ang="0">
                  <a:pos x="95" y="96"/>
                </a:cxn>
                <a:cxn ang="0">
                  <a:pos x="109" y="85"/>
                </a:cxn>
                <a:cxn ang="0">
                  <a:pos x="109" y="58"/>
                </a:cxn>
                <a:cxn ang="0">
                  <a:pos x="102" y="47"/>
                </a:cxn>
                <a:cxn ang="0">
                  <a:pos x="92" y="39"/>
                </a:cxn>
                <a:cxn ang="0">
                  <a:pos x="89" y="30"/>
                </a:cxn>
                <a:cxn ang="0">
                  <a:pos x="81" y="13"/>
                </a:cxn>
                <a:cxn ang="0">
                  <a:pos x="72" y="18"/>
                </a:cxn>
                <a:cxn ang="0">
                  <a:pos x="50" y="21"/>
                </a:cxn>
                <a:cxn ang="0">
                  <a:pos x="34" y="1"/>
                </a:cxn>
                <a:cxn ang="0">
                  <a:pos x="18" y="8"/>
                </a:cxn>
                <a:cxn ang="0">
                  <a:pos x="11" y="221"/>
                </a:cxn>
              </a:cxnLst>
              <a:rect l="0" t="0" r="r" b="b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1" name="Freeform 29"/>
            <p:cNvSpPr>
              <a:spLocks noEditPoints="1"/>
            </p:cNvSpPr>
            <p:nvPr/>
          </p:nvSpPr>
          <p:spPr bwMode="auto">
            <a:xfrm rot="21439583">
              <a:off x="4791548" y="5206509"/>
              <a:ext cx="1122126" cy="941695"/>
            </a:xfrm>
            <a:custGeom>
              <a:avLst/>
              <a:gdLst/>
              <a:ahLst/>
              <a:cxnLst>
                <a:cxn ang="0">
                  <a:pos x="178" y="1"/>
                </a:cxn>
                <a:cxn ang="0">
                  <a:pos x="197" y="22"/>
                </a:cxn>
                <a:cxn ang="0">
                  <a:pos x="183" y="36"/>
                </a:cxn>
                <a:cxn ang="0">
                  <a:pos x="178" y="55"/>
                </a:cxn>
                <a:cxn ang="0">
                  <a:pos x="170" y="69"/>
                </a:cxn>
                <a:cxn ang="0">
                  <a:pos x="159" y="90"/>
                </a:cxn>
                <a:cxn ang="0">
                  <a:pos x="152" y="106"/>
                </a:cxn>
                <a:cxn ang="0">
                  <a:pos x="145" y="123"/>
                </a:cxn>
                <a:cxn ang="0">
                  <a:pos x="129" y="138"/>
                </a:cxn>
                <a:cxn ang="0">
                  <a:pos x="104" y="164"/>
                </a:cxn>
                <a:cxn ang="0">
                  <a:pos x="82" y="180"/>
                </a:cxn>
                <a:cxn ang="0">
                  <a:pos x="73" y="185"/>
                </a:cxn>
                <a:cxn ang="0">
                  <a:pos x="63" y="193"/>
                </a:cxn>
                <a:cxn ang="0">
                  <a:pos x="62" y="193"/>
                </a:cxn>
                <a:cxn ang="0">
                  <a:pos x="39" y="196"/>
                </a:cxn>
                <a:cxn ang="0">
                  <a:pos x="28" y="180"/>
                </a:cxn>
                <a:cxn ang="0">
                  <a:pos x="7" y="179"/>
                </a:cxn>
                <a:cxn ang="0">
                  <a:pos x="18" y="174"/>
                </a:cxn>
                <a:cxn ang="0">
                  <a:pos x="27" y="162"/>
                </a:cxn>
                <a:cxn ang="0">
                  <a:pos x="31" y="145"/>
                </a:cxn>
                <a:cxn ang="0">
                  <a:pos x="41" y="130"/>
                </a:cxn>
                <a:cxn ang="0">
                  <a:pos x="52" y="121"/>
                </a:cxn>
                <a:cxn ang="0">
                  <a:pos x="65" y="114"/>
                </a:cxn>
                <a:cxn ang="0">
                  <a:pos x="78" y="110"/>
                </a:cxn>
                <a:cxn ang="0">
                  <a:pos x="95" y="104"/>
                </a:cxn>
                <a:cxn ang="0">
                  <a:pos x="106" y="112"/>
                </a:cxn>
                <a:cxn ang="0">
                  <a:pos x="111" y="100"/>
                </a:cxn>
                <a:cxn ang="0">
                  <a:pos x="116" y="85"/>
                </a:cxn>
                <a:cxn ang="0">
                  <a:pos x="129" y="72"/>
                </a:cxn>
                <a:cxn ang="0">
                  <a:pos x="143" y="57"/>
                </a:cxn>
                <a:cxn ang="0">
                  <a:pos x="153" y="47"/>
                </a:cxn>
                <a:cxn ang="0">
                  <a:pos x="157" y="31"/>
                </a:cxn>
                <a:cxn ang="0">
                  <a:pos x="167" y="14"/>
                </a:cxn>
                <a:cxn ang="0">
                  <a:pos x="177" y="0"/>
                </a:cxn>
                <a:cxn ang="0">
                  <a:pos x="55" y="197"/>
                </a:cxn>
                <a:cxn ang="0">
                  <a:pos x="55" y="197"/>
                </a:cxn>
                <a:cxn ang="0">
                  <a:pos x="55" y="197"/>
                </a:cxn>
              </a:cxnLst>
              <a:rect l="0" t="0" r="r" b="b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auto">
            <a:xfrm rot="21439583">
              <a:off x="3883639" y="5462975"/>
              <a:ext cx="1216136" cy="727131"/>
            </a:xfrm>
            <a:custGeom>
              <a:avLst/>
              <a:gdLst/>
              <a:ahLst/>
              <a:cxnLst>
                <a:cxn ang="0">
                  <a:pos x="97" y="121"/>
                </a:cxn>
                <a:cxn ang="0">
                  <a:pos x="104" y="96"/>
                </a:cxn>
                <a:cxn ang="0">
                  <a:pos x="126" y="100"/>
                </a:cxn>
                <a:cxn ang="0">
                  <a:pos x="121" y="114"/>
                </a:cxn>
                <a:cxn ang="0">
                  <a:pos x="131" y="120"/>
                </a:cxn>
                <a:cxn ang="0">
                  <a:pos x="139" y="139"/>
                </a:cxn>
                <a:cxn ang="0">
                  <a:pos x="149" y="151"/>
                </a:cxn>
                <a:cxn ang="0">
                  <a:pos x="165" y="145"/>
                </a:cxn>
                <a:cxn ang="0">
                  <a:pos x="175" y="130"/>
                </a:cxn>
                <a:cxn ang="0">
                  <a:pos x="185" y="121"/>
                </a:cxn>
                <a:cxn ang="0">
                  <a:pos x="196" y="104"/>
                </a:cxn>
                <a:cxn ang="0">
                  <a:pos x="202" y="96"/>
                </a:cxn>
                <a:cxn ang="0">
                  <a:pos x="216" y="83"/>
                </a:cxn>
                <a:cxn ang="0">
                  <a:pos x="209" y="70"/>
                </a:cxn>
                <a:cxn ang="0">
                  <a:pos x="205" y="60"/>
                </a:cxn>
                <a:cxn ang="0">
                  <a:pos x="196" y="63"/>
                </a:cxn>
                <a:cxn ang="0">
                  <a:pos x="198" y="50"/>
                </a:cxn>
                <a:cxn ang="0">
                  <a:pos x="189" y="43"/>
                </a:cxn>
                <a:cxn ang="0">
                  <a:pos x="190" y="53"/>
                </a:cxn>
                <a:cxn ang="0">
                  <a:pos x="184" y="63"/>
                </a:cxn>
                <a:cxn ang="0">
                  <a:pos x="170" y="56"/>
                </a:cxn>
                <a:cxn ang="0">
                  <a:pos x="157" y="63"/>
                </a:cxn>
                <a:cxn ang="0">
                  <a:pos x="142" y="53"/>
                </a:cxn>
                <a:cxn ang="0">
                  <a:pos x="125" y="38"/>
                </a:cxn>
                <a:cxn ang="0">
                  <a:pos x="117" y="3"/>
                </a:cxn>
                <a:cxn ang="0">
                  <a:pos x="108" y="14"/>
                </a:cxn>
                <a:cxn ang="0">
                  <a:pos x="93" y="25"/>
                </a:cxn>
                <a:cxn ang="0">
                  <a:pos x="78" y="35"/>
                </a:cxn>
                <a:cxn ang="0">
                  <a:pos x="69" y="38"/>
                </a:cxn>
                <a:cxn ang="0">
                  <a:pos x="65" y="22"/>
                </a:cxn>
                <a:cxn ang="0">
                  <a:pos x="50" y="20"/>
                </a:cxn>
                <a:cxn ang="0">
                  <a:pos x="46" y="5"/>
                </a:cxn>
                <a:cxn ang="0">
                  <a:pos x="26" y="5"/>
                </a:cxn>
                <a:cxn ang="0">
                  <a:pos x="23" y="18"/>
                </a:cxn>
                <a:cxn ang="0">
                  <a:pos x="15" y="18"/>
                </a:cxn>
                <a:cxn ang="0">
                  <a:pos x="26" y="27"/>
                </a:cxn>
                <a:cxn ang="0">
                  <a:pos x="24" y="35"/>
                </a:cxn>
                <a:cxn ang="0">
                  <a:pos x="33" y="40"/>
                </a:cxn>
                <a:cxn ang="0">
                  <a:pos x="32" y="54"/>
                </a:cxn>
                <a:cxn ang="0">
                  <a:pos x="25" y="64"/>
                </a:cxn>
                <a:cxn ang="0">
                  <a:pos x="16" y="67"/>
                </a:cxn>
                <a:cxn ang="0">
                  <a:pos x="5" y="77"/>
                </a:cxn>
                <a:cxn ang="0">
                  <a:pos x="23" y="93"/>
                </a:cxn>
                <a:cxn ang="0">
                  <a:pos x="40" y="83"/>
                </a:cxn>
                <a:cxn ang="0">
                  <a:pos x="53" y="76"/>
                </a:cxn>
                <a:cxn ang="0">
                  <a:pos x="70" y="67"/>
                </a:cxn>
                <a:cxn ang="0">
                  <a:pos x="67" y="78"/>
                </a:cxn>
                <a:cxn ang="0">
                  <a:pos x="77" y="99"/>
                </a:cxn>
                <a:cxn ang="0">
                  <a:pos x="85" y="115"/>
                </a:cxn>
                <a:cxn ang="0">
                  <a:pos x="91" y="123"/>
                </a:cxn>
                <a:cxn ang="0">
                  <a:pos x="70" y="99"/>
                </a:cxn>
                <a:cxn ang="0">
                  <a:pos x="70" y="99"/>
                </a:cxn>
                <a:cxn ang="0">
                  <a:pos x="70" y="99"/>
                </a:cxn>
              </a:cxnLst>
              <a:rect l="0" t="0" r="r" b="b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3" name="Freeform 39"/>
            <p:cNvSpPr>
              <a:spLocks/>
            </p:cNvSpPr>
            <p:nvPr/>
          </p:nvSpPr>
          <p:spPr bwMode="auto">
            <a:xfrm rot="21439583">
              <a:off x="2304712" y="3906331"/>
              <a:ext cx="814091" cy="1311220"/>
            </a:xfrm>
            <a:custGeom>
              <a:avLst/>
              <a:gdLst/>
              <a:ahLst/>
              <a:cxnLst>
                <a:cxn ang="0">
                  <a:pos x="4" y="241"/>
                </a:cxn>
                <a:cxn ang="0">
                  <a:pos x="4" y="232"/>
                </a:cxn>
                <a:cxn ang="0">
                  <a:pos x="9" y="217"/>
                </a:cxn>
                <a:cxn ang="0">
                  <a:pos x="21" y="213"/>
                </a:cxn>
                <a:cxn ang="0">
                  <a:pos x="19" y="193"/>
                </a:cxn>
                <a:cxn ang="0">
                  <a:pos x="15" y="176"/>
                </a:cxn>
                <a:cxn ang="0">
                  <a:pos x="31" y="167"/>
                </a:cxn>
                <a:cxn ang="0">
                  <a:pos x="37" y="152"/>
                </a:cxn>
                <a:cxn ang="0">
                  <a:pos x="45" y="143"/>
                </a:cxn>
                <a:cxn ang="0">
                  <a:pos x="56" y="148"/>
                </a:cxn>
                <a:cxn ang="0">
                  <a:pos x="64" y="137"/>
                </a:cxn>
                <a:cxn ang="0">
                  <a:pos x="72" y="124"/>
                </a:cxn>
                <a:cxn ang="0">
                  <a:pos x="80" y="116"/>
                </a:cxn>
                <a:cxn ang="0">
                  <a:pos x="79" y="98"/>
                </a:cxn>
                <a:cxn ang="0">
                  <a:pos x="71" y="87"/>
                </a:cxn>
                <a:cxn ang="0">
                  <a:pos x="65" y="79"/>
                </a:cxn>
                <a:cxn ang="0">
                  <a:pos x="75" y="73"/>
                </a:cxn>
                <a:cxn ang="0">
                  <a:pos x="60" y="63"/>
                </a:cxn>
                <a:cxn ang="0">
                  <a:pos x="77" y="40"/>
                </a:cxn>
                <a:cxn ang="0">
                  <a:pos x="90" y="18"/>
                </a:cxn>
                <a:cxn ang="0">
                  <a:pos x="101" y="1"/>
                </a:cxn>
                <a:cxn ang="0">
                  <a:pos x="121" y="5"/>
                </a:cxn>
                <a:cxn ang="0">
                  <a:pos x="138" y="12"/>
                </a:cxn>
                <a:cxn ang="0">
                  <a:pos x="145" y="26"/>
                </a:cxn>
                <a:cxn ang="0">
                  <a:pos x="139" y="53"/>
                </a:cxn>
                <a:cxn ang="0">
                  <a:pos x="135" y="70"/>
                </a:cxn>
                <a:cxn ang="0">
                  <a:pos x="126" y="85"/>
                </a:cxn>
                <a:cxn ang="0">
                  <a:pos x="123" y="104"/>
                </a:cxn>
                <a:cxn ang="0">
                  <a:pos x="120" y="127"/>
                </a:cxn>
                <a:cxn ang="0">
                  <a:pos x="122" y="144"/>
                </a:cxn>
                <a:cxn ang="0">
                  <a:pos x="126" y="160"/>
                </a:cxn>
                <a:cxn ang="0">
                  <a:pos x="126" y="171"/>
                </a:cxn>
                <a:cxn ang="0">
                  <a:pos x="116" y="173"/>
                </a:cxn>
                <a:cxn ang="0">
                  <a:pos x="107" y="175"/>
                </a:cxn>
                <a:cxn ang="0">
                  <a:pos x="94" y="194"/>
                </a:cxn>
                <a:cxn ang="0">
                  <a:pos x="84" y="203"/>
                </a:cxn>
                <a:cxn ang="0">
                  <a:pos x="94" y="217"/>
                </a:cxn>
                <a:cxn ang="0">
                  <a:pos x="98" y="238"/>
                </a:cxn>
                <a:cxn ang="0">
                  <a:pos x="86" y="243"/>
                </a:cxn>
                <a:cxn ang="0">
                  <a:pos x="70" y="232"/>
                </a:cxn>
                <a:cxn ang="0">
                  <a:pos x="75" y="250"/>
                </a:cxn>
                <a:cxn ang="0">
                  <a:pos x="82" y="272"/>
                </a:cxn>
                <a:cxn ang="0">
                  <a:pos x="68" y="270"/>
                </a:cxn>
                <a:cxn ang="0">
                  <a:pos x="56" y="273"/>
                </a:cxn>
                <a:cxn ang="0">
                  <a:pos x="54" y="257"/>
                </a:cxn>
                <a:cxn ang="0">
                  <a:pos x="36" y="255"/>
                </a:cxn>
                <a:cxn ang="0">
                  <a:pos x="26" y="247"/>
                </a:cxn>
                <a:cxn ang="0">
                  <a:pos x="15" y="240"/>
                </a:cxn>
              </a:cxnLst>
              <a:rect l="0" t="0" r="r" b="b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4" name="Freeform 11"/>
            <p:cNvSpPr>
              <a:spLocks/>
            </p:cNvSpPr>
            <p:nvPr/>
          </p:nvSpPr>
          <p:spPr bwMode="auto">
            <a:xfrm rot="21439583">
              <a:off x="4449147" y="1136389"/>
              <a:ext cx="1462164" cy="2828490"/>
            </a:xfrm>
            <a:custGeom>
              <a:avLst/>
              <a:gdLst/>
              <a:ahLst/>
              <a:cxnLst>
                <a:cxn ang="0">
                  <a:pos x="29" y="581"/>
                </a:cxn>
                <a:cxn ang="0">
                  <a:pos x="45" y="592"/>
                </a:cxn>
                <a:cxn ang="0">
                  <a:pos x="64" y="557"/>
                </a:cxn>
                <a:cxn ang="0">
                  <a:pos x="106" y="544"/>
                </a:cxn>
                <a:cxn ang="0">
                  <a:pos x="128" y="538"/>
                </a:cxn>
                <a:cxn ang="0">
                  <a:pos x="134" y="509"/>
                </a:cxn>
                <a:cxn ang="0">
                  <a:pos x="157" y="494"/>
                </a:cxn>
                <a:cxn ang="0">
                  <a:pos x="169" y="522"/>
                </a:cxn>
                <a:cxn ang="0">
                  <a:pos x="184" y="518"/>
                </a:cxn>
                <a:cxn ang="0">
                  <a:pos x="194" y="491"/>
                </a:cxn>
                <a:cxn ang="0">
                  <a:pos x="221" y="472"/>
                </a:cxn>
                <a:cxn ang="0">
                  <a:pos x="224" y="444"/>
                </a:cxn>
                <a:cxn ang="0">
                  <a:pos x="222" y="413"/>
                </a:cxn>
                <a:cxn ang="0">
                  <a:pos x="231" y="389"/>
                </a:cxn>
                <a:cxn ang="0">
                  <a:pos x="237" y="352"/>
                </a:cxn>
                <a:cxn ang="0">
                  <a:pos x="246" y="319"/>
                </a:cxn>
                <a:cxn ang="0">
                  <a:pos x="257" y="289"/>
                </a:cxn>
                <a:cxn ang="0">
                  <a:pos x="255" y="268"/>
                </a:cxn>
                <a:cxn ang="0">
                  <a:pos x="242" y="265"/>
                </a:cxn>
                <a:cxn ang="0">
                  <a:pos x="228" y="243"/>
                </a:cxn>
                <a:cxn ang="0">
                  <a:pos x="215" y="218"/>
                </a:cxn>
                <a:cxn ang="0">
                  <a:pos x="222" y="199"/>
                </a:cxn>
                <a:cxn ang="0">
                  <a:pos x="229" y="170"/>
                </a:cxn>
                <a:cxn ang="0">
                  <a:pos x="213" y="167"/>
                </a:cxn>
                <a:cxn ang="0">
                  <a:pos x="201" y="146"/>
                </a:cxn>
                <a:cxn ang="0">
                  <a:pos x="211" y="131"/>
                </a:cxn>
                <a:cxn ang="0">
                  <a:pos x="203" y="103"/>
                </a:cxn>
                <a:cxn ang="0">
                  <a:pos x="192" y="74"/>
                </a:cxn>
                <a:cxn ang="0">
                  <a:pos x="149" y="62"/>
                </a:cxn>
                <a:cxn ang="0">
                  <a:pos x="157" y="42"/>
                </a:cxn>
                <a:cxn ang="0">
                  <a:pos x="166" y="31"/>
                </a:cxn>
                <a:cxn ang="0">
                  <a:pos x="159" y="7"/>
                </a:cxn>
                <a:cxn ang="0">
                  <a:pos x="147" y="14"/>
                </a:cxn>
                <a:cxn ang="0">
                  <a:pos x="126" y="30"/>
                </a:cxn>
                <a:cxn ang="0">
                  <a:pos x="107" y="40"/>
                </a:cxn>
                <a:cxn ang="0">
                  <a:pos x="89" y="45"/>
                </a:cxn>
                <a:cxn ang="0">
                  <a:pos x="86" y="76"/>
                </a:cxn>
                <a:cxn ang="0">
                  <a:pos x="82" y="90"/>
                </a:cxn>
                <a:cxn ang="0">
                  <a:pos x="70" y="123"/>
                </a:cxn>
                <a:cxn ang="0">
                  <a:pos x="83" y="144"/>
                </a:cxn>
                <a:cxn ang="0">
                  <a:pos x="98" y="163"/>
                </a:cxn>
                <a:cxn ang="0">
                  <a:pos x="79" y="204"/>
                </a:cxn>
                <a:cxn ang="0">
                  <a:pos x="65" y="220"/>
                </a:cxn>
                <a:cxn ang="0">
                  <a:pos x="64" y="239"/>
                </a:cxn>
                <a:cxn ang="0">
                  <a:pos x="38" y="248"/>
                </a:cxn>
                <a:cxn ang="0">
                  <a:pos x="15" y="263"/>
                </a:cxn>
                <a:cxn ang="0">
                  <a:pos x="18" y="289"/>
                </a:cxn>
                <a:cxn ang="0">
                  <a:pos x="0" y="315"/>
                </a:cxn>
                <a:cxn ang="0">
                  <a:pos x="6" y="346"/>
                </a:cxn>
                <a:cxn ang="0">
                  <a:pos x="45" y="368"/>
                </a:cxn>
                <a:cxn ang="0">
                  <a:pos x="40" y="392"/>
                </a:cxn>
                <a:cxn ang="0">
                  <a:pos x="22" y="405"/>
                </a:cxn>
                <a:cxn ang="0">
                  <a:pos x="33" y="433"/>
                </a:cxn>
                <a:cxn ang="0">
                  <a:pos x="36" y="468"/>
                </a:cxn>
                <a:cxn ang="0">
                  <a:pos x="16" y="493"/>
                </a:cxn>
                <a:cxn ang="0">
                  <a:pos x="5" y="508"/>
                </a:cxn>
                <a:cxn ang="0">
                  <a:pos x="13" y="523"/>
                </a:cxn>
                <a:cxn ang="0">
                  <a:pos x="9" y="554"/>
                </a:cxn>
                <a:cxn ang="0">
                  <a:pos x="8" y="572"/>
                </a:cxn>
              </a:cxnLst>
              <a:rect l="0" t="0" r="r" b="b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8" name="Freeform 31"/>
            <p:cNvSpPr>
              <a:spLocks noEditPoints="1"/>
            </p:cNvSpPr>
            <p:nvPr/>
          </p:nvSpPr>
          <p:spPr bwMode="auto">
            <a:xfrm rot="21439583">
              <a:off x="4403944" y="4657553"/>
              <a:ext cx="832093" cy="926369"/>
            </a:xfrm>
            <a:custGeom>
              <a:avLst/>
              <a:gdLst/>
              <a:ahLst/>
              <a:cxnLst>
                <a:cxn ang="0">
                  <a:pos x="69" y="21"/>
                </a:cxn>
                <a:cxn ang="0">
                  <a:pos x="79" y="17"/>
                </a:cxn>
                <a:cxn ang="0">
                  <a:pos x="92" y="22"/>
                </a:cxn>
                <a:cxn ang="0">
                  <a:pos x="109" y="13"/>
                </a:cxn>
                <a:cxn ang="0">
                  <a:pos x="137" y="12"/>
                </a:cxn>
                <a:cxn ang="0">
                  <a:pos x="144" y="26"/>
                </a:cxn>
                <a:cxn ang="0">
                  <a:pos x="148" y="33"/>
                </a:cxn>
                <a:cxn ang="0">
                  <a:pos x="144" y="39"/>
                </a:cxn>
                <a:cxn ang="0">
                  <a:pos x="140" y="56"/>
                </a:cxn>
                <a:cxn ang="0">
                  <a:pos x="142" y="65"/>
                </a:cxn>
                <a:cxn ang="0">
                  <a:pos x="143" y="79"/>
                </a:cxn>
                <a:cxn ang="0">
                  <a:pos x="138" y="91"/>
                </a:cxn>
                <a:cxn ang="0">
                  <a:pos x="131" y="94"/>
                </a:cxn>
                <a:cxn ang="0">
                  <a:pos x="116" y="99"/>
                </a:cxn>
                <a:cxn ang="0">
                  <a:pos x="107" y="114"/>
                </a:cxn>
                <a:cxn ang="0">
                  <a:pos x="105" y="124"/>
                </a:cxn>
                <a:cxn ang="0">
                  <a:pos x="99" y="132"/>
                </a:cxn>
                <a:cxn ang="0">
                  <a:pos x="89" y="126"/>
                </a:cxn>
                <a:cxn ang="0">
                  <a:pos x="80" y="133"/>
                </a:cxn>
                <a:cxn ang="0">
                  <a:pos x="70" y="149"/>
                </a:cxn>
                <a:cxn ang="0">
                  <a:pos x="56" y="155"/>
                </a:cxn>
                <a:cxn ang="0">
                  <a:pos x="51" y="170"/>
                </a:cxn>
                <a:cxn ang="0">
                  <a:pos x="58" y="187"/>
                </a:cxn>
                <a:cxn ang="0">
                  <a:pos x="40" y="188"/>
                </a:cxn>
                <a:cxn ang="0">
                  <a:pos x="26" y="195"/>
                </a:cxn>
                <a:cxn ang="0">
                  <a:pos x="19" y="171"/>
                </a:cxn>
                <a:cxn ang="0">
                  <a:pos x="11" y="151"/>
                </a:cxn>
                <a:cxn ang="0">
                  <a:pos x="1" y="126"/>
                </a:cxn>
                <a:cxn ang="0">
                  <a:pos x="6" y="106"/>
                </a:cxn>
                <a:cxn ang="0">
                  <a:pos x="13" y="90"/>
                </a:cxn>
                <a:cxn ang="0">
                  <a:pos x="24" y="74"/>
                </a:cxn>
                <a:cxn ang="0">
                  <a:pos x="30" y="61"/>
                </a:cxn>
                <a:cxn ang="0">
                  <a:pos x="49" y="58"/>
                </a:cxn>
                <a:cxn ang="0">
                  <a:pos x="56" y="33"/>
                </a:cxn>
                <a:cxn ang="0">
                  <a:pos x="56" y="18"/>
                </a:cxn>
                <a:cxn ang="0">
                  <a:pos x="18" y="170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3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1" name="Freeform 30"/>
            <p:cNvSpPr>
              <a:spLocks/>
            </p:cNvSpPr>
            <p:nvPr/>
          </p:nvSpPr>
          <p:spPr bwMode="auto">
            <a:xfrm rot="21439583">
              <a:off x="5140641" y="3925140"/>
              <a:ext cx="888099" cy="1265243"/>
            </a:xfrm>
            <a:custGeom>
              <a:avLst/>
              <a:gdLst/>
              <a:ahLst/>
              <a:cxnLst>
                <a:cxn ang="0">
                  <a:pos x="151" y="77"/>
                </a:cxn>
                <a:cxn ang="0">
                  <a:pos x="130" y="81"/>
                </a:cxn>
                <a:cxn ang="0">
                  <a:pos x="115" y="86"/>
                </a:cxn>
                <a:cxn ang="0">
                  <a:pos x="99" y="93"/>
                </a:cxn>
                <a:cxn ang="0">
                  <a:pos x="94" y="107"/>
                </a:cxn>
                <a:cxn ang="0">
                  <a:pos x="101" y="125"/>
                </a:cxn>
                <a:cxn ang="0">
                  <a:pos x="114" y="135"/>
                </a:cxn>
                <a:cxn ang="0">
                  <a:pos x="110" y="154"/>
                </a:cxn>
                <a:cxn ang="0">
                  <a:pos x="103" y="175"/>
                </a:cxn>
                <a:cxn ang="0">
                  <a:pos x="102" y="206"/>
                </a:cxn>
                <a:cxn ang="0">
                  <a:pos x="108" y="231"/>
                </a:cxn>
                <a:cxn ang="0">
                  <a:pos x="108" y="243"/>
                </a:cxn>
                <a:cxn ang="0">
                  <a:pos x="107" y="266"/>
                </a:cxn>
                <a:cxn ang="0">
                  <a:pos x="94" y="257"/>
                </a:cxn>
                <a:cxn ang="0">
                  <a:pos x="82" y="239"/>
                </a:cxn>
                <a:cxn ang="0">
                  <a:pos x="68" y="239"/>
                </a:cxn>
                <a:cxn ang="0">
                  <a:pos x="58" y="244"/>
                </a:cxn>
                <a:cxn ang="0">
                  <a:pos x="45" y="237"/>
                </a:cxn>
                <a:cxn ang="0">
                  <a:pos x="36" y="244"/>
                </a:cxn>
                <a:cxn ang="0">
                  <a:pos x="19" y="246"/>
                </a:cxn>
                <a:cxn ang="0">
                  <a:pos x="4" y="244"/>
                </a:cxn>
                <a:cxn ang="0">
                  <a:pos x="1" y="229"/>
                </a:cxn>
                <a:cxn ang="0">
                  <a:pos x="8" y="220"/>
                </a:cxn>
                <a:cxn ang="0">
                  <a:pos x="1" y="209"/>
                </a:cxn>
                <a:cxn ang="0">
                  <a:pos x="7" y="199"/>
                </a:cxn>
                <a:cxn ang="0">
                  <a:pos x="11" y="185"/>
                </a:cxn>
                <a:cxn ang="0">
                  <a:pos x="7" y="179"/>
                </a:cxn>
                <a:cxn ang="0">
                  <a:pos x="5" y="166"/>
                </a:cxn>
                <a:cxn ang="0">
                  <a:pos x="5" y="159"/>
                </a:cxn>
                <a:cxn ang="0">
                  <a:pos x="13" y="142"/>
                </a:cxn>
                <a:cxn ang="0">
                  <a:pos x="17" y="117"/>
                </a:cxn>
                <a:cxn ang="0">
                  <a:pos x="26" y="87"/>
                </a:cxn>
                <a:cxn ang="0">
                  <a:pos x="28" y="76"/>
                </a:cxn>
                <a:cxn ang="0">
                  <a:pos x="23" y="71"/>
                </a:cxn>
                <a:cxn ang="0">
                  <a:pos x="47" y="53"/>
                </a:cxn>
                <a:cxn ang="0">
                  <a:pos x="61" y="46"/>
                </a:cxn>
                <a:cxn ang="0">
                  <a:pos x="76" y="14"/>
                </a:cxn>
                <a:cxn ang="0">
                  <a:pos x="103" y="11"/>
                </a:cxn>
                <a:cxn ang="0">
                  <a:pos x="112" y="46"/>
                </a:cxn>
                <a:cxn ang="0">
                  <a:pos x="130" y="51"/>
                </a:cxn>
                <a:cxn ang="0">
                  <a:pos x="156" y="63"/>
                </a:cxn>
              </a:cxnLst>
              <a:rect l="0" t="0" r="r" b="b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2" name="Freeform 28"/>
            <p:cNvSpPr>
              <a:spLocks noEditPoints="1"/>
            </p:cNvSpPr>
            <p:nvPr/>
          </p:nvSpPr>
          <p:spPr bwMode="auto">
            <a:xfrm rot="21439583">
              <a:off x="4551519" y="5058292"/>
              <a:ext cx="1228136" cy="732240"/>
            </a:xfrm>
            <a:custGeom>
              <a:avLst/>
              <a:gdLst/>
              <a:ahLst/>
              <a:cxnLst>
                <a:cxn ang="0">
                  <a:pos x="16" y="101"/>
                </a:cxn>
                <a:cxn ang="0">
                  <a:pos x="34" y="100"/>
                </a:cxn>
                <a:cxn ang="0">
                  <a:pos x="27" y="83"/>
                </a:cxn>
                <a:cxn ang="0">
                  <a:pos x="32" y="68"/>
                </a:cxn>
                <a:cxn ang="0">
                  <a:pos x="46" y="62"/>
                </a:cxn>
                <a:cxn ang="0">
                  <a:pos x="56" y="46"/>
                </a:cxn>
                <a:cxn ang="0">
                  <a:pos x="65" y="39"/>
                </a:cxn>
                <a:cxn ang="0">
                  <a:pos x="75" y="45"/>
                </a:cxn>
                <a:cxn ang="0">
                  <a:pos x="81" y="37"/>
                </a:cxn>
                <a:cxn ang="0">
                  <a:pos x="83" y="27"/>
                </a:cxn>
                <a:cxn ang="0">
                  <a:pos x="92" y="12"/>
                </a:cxn>
                <a:cxn ang="0">
                  <a:pos x="107" y="7"/>
                </a:cxn>
                <a:cxn ang="0">
                  <a:pos x="117" y="9"/>
                </a:cxn>
                <a:cxn ang="0">
                  <a:pos x="132" y="11"/>
                </a:cxn>
                <a:cxn ang="0">
                  <a:pos x="149" y="9"/>
                </a:cxn>
                <a:cxn ang="0">
                  <a:pos x="158" y="2"/>
                </a:cxn>
                <a:cxn ang="0">
                  <a:pos x="171" y="9"/>
                </a:cxn>
                <a:cxn ang="0">
                  <a:pos x="181" y="4"/>
                </a:cxn>
                <a:cxn ang="0">
                  <a:pos x="195" y="4"/>
                </a:cxn>
                <a:cxn ang="0">
                  <a:pos x="207" y="22"/>
                </a:cxn>
                <a:cxn ang="0">
                  <a:pos x="220" y="31"/>
                </a:cxn>
                <a:cxn ang="0">
                  <a:pos x="211" y="37"/>
                </a:cxn>
                <a:cxn ang="0">
                  <a:pos x="208" y="59"/>
                </a:cxn>
                <a:cxn ang="0">
                  <a:pos x="199" y="77"/>
                </a:cxn>
                <a:cxn ang="0">
                  <a:pos x="192" y="89"/>
                </a:cxn>
                <a:cxn ang="0">
                  <a:pos x="180" y="98"/>
                </a:cxn>
                <a:cxn ang="0">
                  <a:pos x="163" y="110"/>
                </a:cxn>
                <a:cxn ang="0">
                  <a:pos x="157" y="133"/>
                </a:cxn>
                <a:cxn ang="0">
                  <a:pos x="148" y="137"/>
                </a:cxn>
                <a:cxn ang="0">
                  <a:pos x="140" y="143"/>
                </a:cxn>
                <a:cxn ang="0">
                  <a:pos x="130" y="136"/>
                </a:cxn>
                <a:cxn ang="0">
                  <a:pos x="114" y="149"/>
                </a:cxn>
                <a:cxn ang="0">
                  <a:pos x="101" y="154"/>
                </a:cxn>
                <a:cxn ang="0">
                  <a:pos x="85" y="149"/>
                </a:cxn>
                <a:cxn ang="0">
                  <a:pos x="81" y="139"/>
                </a:cxn>
                <a:cxn ang="0">
                  <a:pos x="72" y="142"/>
                </a:cxn>
                <a:cxn ang="0">
                  <a:pos x="74" y="129"/>
                </a:cxn>
                <a:cxn ang="0">
                  <a:pos x="65" y="122"/>
                </a:cxn>
                <a:cxn ang="0">
                  <a:pos x="66" y="132"/>
                </a:cxn>
                <a:cxn ang="0">
                  <a:pos x="60" y="142"/>
                </a:cxn>
                <a:cxn ang="0">
                  <a:pos x="46" y="135"/>
                </a:cxn>
                <a:cxn ang="0">
                  <a:pos x="33" y="142"/>
                </a:cxn>
                <a:cxn ang="0">
                  <a:pos x="18" y="132"/>
                </a:cxn>
                <a:cxn ang="0">
                  <a:pos x="1" y="117"/>
                </a:cxn>
                <a:cxn ang="0">
                  <a:pos x="114" y="4"/>
                </a:cxn>
                <a:cxn ang="0">
                  <a:pos x="114" y="4"/>
                </a:cxn>
                <a:cxn ang="0">
                  <a:pos x="114" y="5"/>
                </a:cxn>
              </a:cxnLst>
              <a:rect l="0" t="0" r="r" b="b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3" name="Freeform 17"/>
            <p:cNvSpPr>
              <a:spLocks/>
            </p:cNvSpPr>
            <p:nvPr/>
          </p:nvSpPr>
          <p:spPr bwMode="auto">
            <a:xfrm rot="21439583">
              <a:off x="4205241" y="6107695"/>
              <a:ext cx="292032" cy="146448"/>
            </a:xfrm>
            <a:custGeom>
              <a:avLst/>
              <a:gdLst/>
              <a:ahLst/>
              <a:cxnLst>
                <a:cxn ang="0">
                  <a:pos x="20" y="31"/>
                </a:cxn>
                <a:cxn ang="0">
                  <a:pos x="27" y="28"/>
                </a:cxn>
                <a:cxn ang="0">
                  <a:pos x="34" y="21"/>
                </a:cxn>
                <a:cxn ang="0">
                  <a:pos x="51" y="16"/>
                </a:cxn>
                <a:cxn ang="0">
                  <a:pos x="36" y="0"/>
                </a:cxn>
                <a:cxn ang="0">
                  <a:pos x="30" y="10"/>
                </a:cxn>
                <a:cxn ang="0">
                  <a:pos x="23" y="12"/>
                </a:cxn>
                <a:cxn ang="0">
                  <a:pos x="14" y="15"/>
                </a:cxn>
                <a:cxn ang="0">
                  <a:pos x="5" y="19"/>
                </a:cxn>
                <a:cxn ang="0">
                  <a:pos x="3" y="25"/>
                </a:cxn>
                <a:cxn ang="0">
                  <a:pos x="20" y="25"/>
                </a:cxn>
                <a:cxn ang="0">
                  <a:pos x="20" y="31"/>
                </a:cxn>
              </a:cxnLst>
              <a:rect l="0" t="0" r="r" b="b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4" name="Freeform 22"/>
            <p:cNvSpPr>
              <a:spLocks/>
            </p:cNvSpPr>
            <p:nvPr/>
          </p:nvSpPr>
          <p:spPr bwMode="auto">
            <a:xfrm rot="21439583">
              <a:off x="4012980" y="3893632"/>
              <a:ext cx="682076" cy="88379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95" y="46"/>
                </a:cxn>
                <a:cxn ang="0">
                  <a:pos x="93" y="68"/>
                </a:cxn>
                <a:cxn ang="0">
                  <a:pos x="96" y="88"/>
                </a:cxn>
                <a:cxn ang="0">
                  <a:pos x="107" y="108"/>
                </a:cxn>
                <a:cxn ang="0">
                  <a:pos x="111" y="130"/>
                </a:cxn>
                <a:cxn ang="0">
                  <a:pos x="112" y="146"/>
                </a:cxn>
                <a:cxn ang="0">
                  <a:pos x="115" y="162"/>
                </a:cxn>
                <a:cxn ang="0">
                  <a:pos x="120" y="183"/>
                </a:cxn>
                <a:cxn ang="0">
                  <a:pos x="104" y="178"/>
                </a:cxn>
                <a:cxn ang="0">
                  <a:pos x="109" y="165"/>
                </a:cxn>
                <a:cxn ang="0">
                  <a:pos x="97" y="155"/>
                </a:cxn>
                <a:cxn ang="0">
                  <a:pos x="88" y="145"/>
                </a:cxn>
                <a:cxn ang="0">
                  <a:pos x="77" y="153"/>
                </a:cxn>
                <a:cxn ang="0">
                  <a:pos x="49" y="139"/>
                </a:cxn>
                <a:cxn ang="0">
                  <a:pos x="37" y="133"/>
                </a:cxn>
                <a:cxn ang="0">
                  <a:pos x="27" y="148"/>
                </a:cxn>
                <a:cxn ang="0">
                  <a:pos x="7" y="147"/>
                </a:cxn>
                <a:cxn ang="0">
                  <a:pos x="10" y="115"/>
                </a:cxn>
                <a:cxn ang="0">
                  <a:pos x="2" y="101"/>
                </a:cxn>
                <a:cxn ang="0">
                  <a:pos x="3" y="82"/>
                </a:cxn>
                <a:cxn ang="0">
                  <a:pos x="9" y="70"/>
                </a:cxn>
                <a:cxn ang="0">
                  <a:pos x="9" y="54"/>
                </a:cxn>
                <a:cxn ang="0">
                  <a:pos x="11" y="44"/>
                </a:cxn>
                <a:cxn ang="0">
                  <a:pos x="1" y="31"/>
                </a:cxn>
                <a:cxn ang="0">
                  <a:pos x="6" y="17"/>
                </a:cxn>
                <a:cxn ang="0">
                  <a:pos x="16" y="26"/>
                </a:cxn>
                <a:cxn ang="0">
                  <a:pos x="27" y="40"/>
                </a:cxn>
                <a:cxn ang="0">
                  <a:pos x="39" y="28"/>
                </a:cxn>
                <a:cxn ang="0">
                  <a:pos x="53" y="16"/>
                </a:cxn>
                <a:cxn ang="0">
                  <a:pos x="64" y="3"/>
                </a:cxn>
                <a:cxn ang="0">
                  <a:pos x="78" y="13"/>
                </a:cxn>
              </a:cxnLst>
              <a:rect l="0" t="0" r="r" b="b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5" name="Freeform 10"/>
            <p:cNvSpPr>
              <a:spLocks noEditPoints="1"/>
            </p:cNvSpPr>
            <p:nvPr/>
          </p:nvSpPr>
          <p:spPr bwMode="auto">
            <a:xfrm rot="21439583">
              <a:off x="3442545" y="3294429"/>
              <a:ext cx="1168131" cy="1103469"/>
            </a:xfrm>
            <a:custGeom>
              <a:avLst/>
              <a:gdLst/>
              <a:ahLst/>
              <a:cxnLst>
                <a:cxn ang="0">
                  <a:pos x="194" y="133"/>
                </a:cxn>
                <a:cxn ang="0">
                  <a:pos x="187" y="148"/>
                </a:cxn>
                <a:cxn ang="0">
                  <a:pos x="175" y="142"/>
                </a:cxn>
                <a:cxn ang="0">
                  <a:pos x="161" y="132"/>
                </a:cxn>
                <a:cxn ang="0">
                  <a:pos x="150" y="145"/>
                </a:cxn>
                <a:cxn ang="0">
                  <a:pos x="136" y="157"/>
                </a:cxn>
                <a:cxn ang="0">
                  <a:pos x="124" y="169"/>
                </a:cxn>
                <a:cxn ang="0">
                  <a:pos x="113" y="155"/>
                </a:cxn>
                <a:cxn ang="0">
                  <a:pos x="103" y="146"/>
                </a:cxn>
                <a:cxn ang="0">
                  <a:pos x="98" y="160"/>
                </a:cxn>
                <a:cxn ang="0">
                  <a:pos x="108" y="173"/>
                </a:cxn>
                <a:cxn ang="0">
                  <a:pos x="106" y="183"/>
                </a:cxn>
                <a:cxn ang="0">
                  <a:pos x="106" y="199"/>
                </a:cxn>
                <a:cxn ang="0">
                  <a:pos x="100" y="211"/>
                </a:cxn>
                <a:cxn ang="0">
                  <a:pos x="80" y="227"/>
                </a:cxn>
                <a:cxn ang="0">
                  <a:pos x="57" y="214"/>
                </a:cxn>
                <a:cxn ang="0">
                  <a:pos x="38" y="216"/>
                </a:cxn>
                <a:cxn ang="0">
                  <a:pos x="14" y="212"/>
                </a:cxn>
                <a:cxn ang="0">
                  <a:pos x="2" y="210"/>
                </a:cxn>
                <a:cxn ang="0">
                  <a:pos x="14" y="192"/>
                </a:cxn>
                <a:cxn ang="0">
                  <a:pos x="11" y="176"/>
                </a:cxn>
                <a:cxn ang="0">
                  <a:pos x="15" y="163"/>
                </a:cxn>
                <a:cxn ang="0">
                  <a:pos x="25" y="160"/>
                </a:cxn>
                <a:cxn ang="0">
                  <a:pos x="20" y="148"/>
                </a:cxn>
                <a:cxn ang="0">
                  <a:pos x="27" y="122"/>
                </a:cxn>
                <a:cxn ang="0">
                  <a:pos x="35" y="101"/>
                </a:cxn>
                <a:cxn ang="0">
                  <a:pos x="53" y="93"/>
                </a:cxn>
                <a:cxn ang="0">
                  <a:pos x="67" y="75"/>
                </a:cxn>
                <a:cxn ang="0">
                  <a:pos x="83" y="71"/>
                </a:cxn>
                <a:cxn ang="0">
                  <a:pos x="95" y="58"/>
                </a:cxn>
                <a:cxn ang="0">
                  <a:pos x="106" y="49"/>
                </a:cxn>
                <a:cxn ang="0">
                  <a:pos x="97" y="30"/>
                </a:cxn>
                <a:cxn ang="0">
                  <a:pos x="103" y="12"/>
                </a:cxn>
                <a:cxn ang="0">
                  <a:pos x="122" y="2"/>
                </a:cxn>
                <a:cxn ang="0">
                  <a:pos x="130" y="6"/>
                </a:cxn>
                <a:cxn ang="0">
                  <a:pos x="139" y="22"/>
                </a:cxn>
                <a:cxn ang="0">
                  <a:pos x="148" y="31"/>
                </a:cxn>
                <a:cxn ang="0">
                  <a:pos x="165" y="40"/>
                </a:cxn>
                <a:cxn ang="0">
                  <a:pos x="170" y="51"/>
                </a:cxn>
                <a:cxn ang="0">
                  <a:pos x="188" y="52"/>
                </a:cxn>
                <a:cxn ang="0">
                  <a:pos x="196" y="65"/>
                </a:cxn>
                <a:cxn ang="0">
                  <a:pos x="198" y="73"/>
                </a:cxn>
                <a:cxn ang="0">
                  <a:pos x="208" y="85"/>
                </a:cxn>
                <a:cxn ang="0">
                  <a:pos x="202" y="110"/>
                </a:cxn>
                <a:cxn ang="0">
                  <a:pos x="201" y="122"/>
                </a:cxn>
                <a:cxn ang="0">
                  <a:pos x="207" y="129"/>
                </a:cxn>
                <a:cxn ang="0">
                  <a:pos x="197" y="65"/>
                </a:cxn>
                <a:cxn ang="0">
                  <a:pos x="197" y="65"/>
                </a:cxn>
                <a:cxn ang="0">
                  <a:pos x="197" y="65"/>
                </a:cxn>
              </a:cxnLst>
              <a:rect l="0" t="0" r="r" b="b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6" name="Freeform 23"/>
            <p:cNvSpPr>
              <a:spLocks noEditPoints="1"/>
            </p:cNvSpPr>
            <p:nvPr/>
          </p:nvSpPr>
          <p:spPr bwMode="auto">
            <a:xfrm rot="21439583">
              <a:off x="3245095" y="4307373"/>
              <a:ext cx="1026113" cy="822492"/>
            </a:xfrm>
            <a:custGeom>
              <a:avLst/>
              <a:gdLst/>
              <a:ahLst/>
              <a:cxnLst>
                <a:cxn ang="0">
                  <a:pos x="151" y="33"/>
                </a:cxn>
                <a:cxn ang="0">
                  <a:pos x="157" y="70"/>
                </a:cxn>
                <a:cxn ang="0">
                  <a:pos x="182" y="86"/>
                </a:cxn>
                <a:cxn ang="0">
                  <a:pos x="182" y="120"/>
                </a:cxn>
                <a:cxn ang="0">
                  <a:pos x="152" y="142"/>
                </a:cxn>
                <a:cxn ang="0">
                  <a:pos x="144" y="144"/>
                </a:cxn>
                <a:cxn ang="0">
                  <a:pos x="132" y="171"/>
                </a:cxn>
                <a:cxn ang="0">
                  <a:pos x="111" y="150"/>
                </a:cxn>
                <a:cxn ang="0">
                  <a:pos x="82" y="160"/>
                </a:cxn>
                <a:cxn ang="0">
                  <a:pos x="61" y="164"/>
                </a:cxn>
                <a:cxn ang="0">
                  <a:pos x="4" y="157"/>
                </a:cxn>
                <a:cxn ang="0">
                  <a:pos x="16" y="132"/>
                </a:cxn>
                <a:cxn ang="0">
                  <a:pos x="19" y="102"/>
                </a:cxn>
                <a:cxn ang="0">
                  <a:pos x="47" y="93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9" y="55"/>
                </a:cxn>
                <a:cxn ang="0">
                  <a:pos x="34" y="46"/>
                </a:cxn>
                <a:cxn ang="0">
                  <a:pos x="22" y="17"/>
                </a:cxn>
                <a:cxn ang="0">
                  <a:pos x="46" y="2"/>
                </a:cxn>
                <a:cxn ang="0">
                  <a:pos x="58" y="1"/>
                </a:cxn>
                <a:cxn ang="0">
                  <a:pos x="91" y="0"/>
                </a:cxn>
                <a:cxn ang="0">
                  <a:pos x="124" y="16"/>
                </a:cxn>
                <a:cxn ang="0">
                  <a:pos x="1" y="112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</a:cxnLst>
              <a:rect l="0" t="0" r="r" b="b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lnTo>
                    <a:pt x="46" y="2"/>
                  </a:ln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98" name="Параллелограмм 97"/>
          <p:cNvSpPr/>
          <p:nvPr/>
        </p:nvSpPr>
        <p:spPr>
          <a:xfrm>
            <a:off x="5219700" y="66527"/>
            <a:ext cx="3924300" cy="288925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4" name="Параллелограмм 103"/>
          <p:cNvSpPr/>
          <p:nvPr/>
        </p:nvSpPr>
        <p:spPr>
          <a:xfrm>
            <a:off x="1368425" y="66527"/>
            <a:ext cx="3924300" cy="288925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112" name="Прямая соединительная линия 111"/>
          <p:cNvCxnSpPr/>
          <p:nvPr/>
        </p:nvCxnSpPr>
        <p:spPr>
          <a:xfrm>
            <a:off x="250825" y="404664"/>
            <a:ext cx="8785225" cy="0"/>
          </a:xfrm>
          <a:prstGeom prst="line">
            <a:avLst/>
          </a:prstGeom>
          <a:ln w="158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25"/>
          <p:cNvSpPr txBox="1">
            <a:spLocks noChangeArrowheads="1"/>
          </p:cNvSpPr>
          <p:nvPr/>
        </p:nvSpPr>
        <p:spPr bwMode="auto">
          <a:xfrm>
            <a:off x="-327910" y="89201"/>
            <a:ext cx="8788342" cy="31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72" tIns="34286" rIns="68572" bIns="34286">
            <a:spAutoFit/>
          </a:bodyPr>
          <a:lstStyle/>
          <a:p>
            <a:pPr lvl="1"/>
            <a:r>
              <a:rPr lang="ru-RU" sz="1600" b="1" dirty="0" smtClean="0"/>
              <a:t>РЕЗУЛЬТАТЫ РЕАЛИЗАЦИИ КОМПЛЕКСНОГО ПЛАНА</a:t>
            </a:r>
            <a:endParaRPr lang="ru-RU" sz="1600" b="1" dirty="0"/>
          </a:p>
        </p:txBody>
      </p:sp>
      <p:sp>
        <p:nvSpPr>
          <p:cNvPr id="116" name="Содержимое 8"/>
          <p:cNvSpPr txBox="1">
            <a:spLocks/>
          </p:cNvSpPr>
          <p:nvPr/>
        </p:nvSpPr>
        <p:spPr bwMode="auto">
          <a:xfrm>
            <a:off x="35496" y="3288432"/>
            <a:ext cx="442247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287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400">
                <a:solidFill>
                  <a:schemeClr val="tx1"/>
                </a:solidFill>
                <a:latin typeface="+mn-lt"/>
              </a:defRPr>
            </a:lvl2pPr>
            <a:lvl3pPr marL="295275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431800" indent="-134938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582613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5pPr>
            <a:lvl6pPr marL="10398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6pPr>
            <a:lvl7pPr marL="14970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7pPr>
            <a:lvl8pPr marL="19542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8pPr>
            <a:lvl9pPr marL="24114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1" indent="-34290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	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24 января 2017 года -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первое заседание Координационного Совета, </a:t>
            </a:r>
            <a:r>
              <a:rPr kumimoji="0" lang="ru-RU" sz="120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Times New Roman" panose="02020603050405020304" pitchFamily="18" charset="0"/>
              </a:rPr>
              <a:t>на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Times New Roman" panose="02020603050405020304" pitchFamily="18" charset="0"/>
              </a:rPr>
              <a:t>котором были определены основные направления работы на 2017 год</a:t>
            </a: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304362" y="4690374"/>
            <a:ext cx="8100304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just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  <a:p>
            <a:pPr marL="36000" marR="0" lvl="1" indent="-180000" algn="just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  <a:p>
            <a:pPr marL="36000" marR="0" lvl="1" indent="-180000" algn="just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  <a:p>
            <a:pPr marL="36000" marR="0" lvl="1" indent="-180000" algn="just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  <a:p>
            <a:pPr marL="36000" marR="0" lvl="1" indent="-180000" algn="just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800" b="1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  <a:p>
            <a:pPr marL="36000" marR="0" lvl="1" indent="-180000" algn="just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  <a:p>
            <a:pPr marL="228600" marR="0" lvl="1" indent="-228600" algn="just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  <a:p>
            <a:pPr marL="228600" marR="0" lvl="1" indent="-228600" algn="just" defTabSz="4445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18" name="Содержимое 9"/>
          <p:cNvSpPr txBox="1">
            <a:spLocks/>
          </p:cNvSpPr>
          <p:nvPr/>
        </p:nvSpPr>
        <p:spPr bwMode="auto">
          <a:xfrm>
            <a:off x="361550" y="4198340"/>
            <a:ext cx="3913166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342900" indent="-342900" defTabSz="8953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800"/>
            </a:lvl1pPr>
            <a:lvl2pPr marL="342900" marR="0" lvl="1" indent="-342900" defTabSz="8953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 kumimoji="0" sz="1200" b="0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295275" indent="-149225" defTabSz="89535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/>
            </a:lvl3pPr>
            <a:lvl4pPr marL="431800" indent="-134938" defTabSz="89535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</a:lvl4pPr>
            <a:lvl5pPr marL="5826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marL="0" lvl="1" indent="0"/>
            <a:r>
              <a:rPr lang="ru-RU" b="1" dirty="0"/>
              <a:t>20 апреля 2017 года </a:t>
            </a:r>
            <a:r>
              <a:rPr lang="ru-RU" dirty="0"/>
              <a:t>- заседание рабочей группы при Координационном Совете по созданию регионального ресурсного центра поддержки СОНКО</a:t>
            </a:r>
          </a:p>
          <a:p>
            <a:pPr marL="0" indent="0"/>
            <a:endParaRPr lang="ru-RU" dirty="0"/>
          </a:p>
        </p:txBody>
      </p:sp>
      <p:grpSp>
        <p:nvGrpSpPr>
          <p:cNvPr id="121" name="Группа 120"/>
          <p:cNvGrpSpPr/>
          <p:nvPr/>
        </p:nvGrpSpPr>
        <p:grpSpPr>
          <a:xfrm>
            <a:off x="278137" y="1700808"/>
            <a:ext cx="4229572" cy="1296144"/>
            <a:chOff x="28251" y="547838"/>
            <a:chExt cx="7561683" cy="1737360"/>
          </a:xfrm>
          <a:effectLst/>
        </p:grpSpPr>
        <p:sp>
          <p:nvSpPr>
            <p:cNvPr id="122" name="Скругленный прямоугольник 121"/>
            <p:cNvSpPr/>
            <p:nvPr/>
          </p:nvSpPr>
          <p:spPr>
            <a:xfrm>
              <a:off x="28251" y="547838"/>
              <a:ext cx="7561683" cy="1737360"/>
            </a:xfrm>
            <a:prstGeom prst="roundRect">
              <a:avLst>
                <a:gd name="adj" fmla="val 10000"/>
              </a:avLst>
            </a:prstGeom>
            <a:solidFill>
              <a:srgbClr val="839FE7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</p:sp>
        <p:sp>
          <p:nvSpPr>
            <p:cNvPr id="123" name="Скругленный прямоугольник 4"/>
            <p:cNvSpPr/>
            <p:nvPr/>
          </p:nvSpPr>
          <p:spPr>
            <a:xfrm>
              <a:off x="150823" y="690048"/>
              <a:ext cx="7350194" cy="1472606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indent="180000" algn="just" defTabSz="533400">
                <a:spcBef>
                  <a:spcPct val="0"/>
                </a:spcBef>
              </a:pPr>
              <a:r>
                <a:rPr lang="ru-RU" sz="11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остановлением Правительства Иркутской области от 17.11.2016 года №734-пп утверждено </a:t>
              </a:r>
              <a:r>
                <a:rPr lang="ru-RU" sz="1100" b="1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оложение о Координационном совете </a:t>
              </a:r>
              <a:r>
                <a:rPr lang="ru-RU" sz="11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ри Правительстве Иркутской области по обеспечению поэтапного доступа СОНКО, осуществляющих деятельность в социальной сфере, к бюджетным средствам, выделяемым на предоставление социальных услуг населению</a:t>
              </a:r>
            </a:p>
          </p:txBody>
        </p:sp>
      </p:grpSp>
      <p:grpSp>
        <p:nvGrpSpPr>
          <p:cNvPr id="124" name="Группа 123"/>
          <p:cNvGrpSpPr/>
          <p:nvPr/>
        </p:nvGrpSpPr>
        <p:grpSpPr>
          <a:xfrm>
            <a:off x="4771358" y="1700808"/>
            <a:ext cx="4121122" cy="1297343"/>
            <a:chOff x="703064" y="2420064"/>
            <a:chExt cx="7115928" cy="1132815"/>
          </a:xfrm>
          <a:solidFill>
            <a:srgbClr val="002960">
              <a:lumMod val="25000"/>
              <a:lumOff val="75000"/>
            </a:srgbClr>
          </a:solidFill>
          <a:effectLst/>
        </p:grpSpPr>
        <p:sp>
          <p:nvSpPr>
            <p:cNvPr id="125" name="Скругленный прямоугольник 124"/>
            <p:cNvSpPr/>
            <p:nvPr/>
          </p:nvSpPr>
          <p:spPr>
            <a:xfrm>
              <a:off x="703064" y="2420064"/>
              <a:ext cx="7115928" cy="1132815"/>
            </a:xfrm>
            <a:prstGeom prst="roundRect">
              <a:avLst>
                <a:gd name="adj" fmla="val 10000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</p:sp>
        <p:sp>
          <p:nvSpPr>
            <p:cNvPr id="126" name="Скругленный прямоугольник 4"/>
            <p:cNvSpPr/>
            <p:nvPr/>
          </p:nvSpPr>
          <p:spPr>
            <a:xfrm>
              <a:off x="796976" y="2515103"/>
              <a:ext cx="6897680" cy="943608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0" marR="0" lvl="0" indent="180000" algn="just" defTabSz="533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Распоряжением  Правительства Иркутской области от 17.11.2016 года №673-рп утвержден </a:t>
              </a: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состав Координационного совета </a:t>
              </a:r>
              <a:r>
                <a: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при Правительстве Иркутской области по обеспечению поэтапного доступа СОНКО, осуществляющих деятельность в социальной сфере, к бюджетным средствам, выделяемым на предоставление социальных услуг населению (с</a:t>
              </a:r>
              <a:r>
                <a:rPr kumimoji="0" lang="ru-RU" sz="1100" b="0" i="0" u="none" strike="noStrike" kern="1200" cap="none" spc="0" normalizeH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 учетом изменений от 17 февраля и 7 ноября 2017 года)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endParaRPr>
            </a:p>
          </p:txBody>
        </p:sp>
      </p:grpSp>
      <p:sp>
        <p:nvSpPr>
          <p:cNvPr id="127" name="Содержимое 9"/>
          <p:cNvSpPr txBox="1">
            <a:spLocks/>
          </p:cNvSpPr>
          <p:nvPr/>
        </p:nvSpPr>
        <p:spPr>
          <a:xfrm>
            <a:off x="330146" y="5025950"/>
            <a:ext cx="388738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indent="0" defTabSz="8953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800"/>
            </a:lvl1pPr>
            <a:lvl2pPr marL="0" marR="0" lvl="1" indent="0" defTabSz="89535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None/>
              <a:tabLst/>
              <a:defRPr kumimoji="0" sz="1200" b="1" i="0" u="none" strike="noStrike" kern="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defRPr>
            </a:lvl2pPr>
            <a:lvl3pPr marL="295275" indent="-149225" defTabSz="89535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/>
            </a:lvl3pPr>
            <a:lvl4pPr marL="431800" indent="-134938" defTabSz="89535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</a:lvl4pPr>
            <a:lvl5pPr marL="5826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lvl="1"/>
            <a:r>
              <a:rPr lang="ru-RU" dirty="0"/>
              <a:t>5 мая 2017 года </a:t>
            </a:r>
            <a:r>
              <a:rPr lang="ru-RU" b="0" dirty="0"/>
              <a:t>- выездное заседание рабочей группы при Координационном Совете по созданию регионального ресурсного центра поддержки СОНКО  на базе ОГБУДПО «Учебно-методический центр развития социального обслуживания» </a:t>
            </a:r>
          </a:p>
        </p:txBody>
      </p:sp>
      <p:sp>
        <p:nvSpPr>
          <p:cNvPr id="128" name="Содержимое 8"/>
          <p:cNvSpPr txBox="1">
            <a:spLocks/>
          </p:cNvSpPr>
          <p:nvPr/>
        </p:nvSpPr>
        <p:spPr bwMode="auto">
          <a:xfrm>
            <a:off x="683568" y="623010"/>
            <a:ext cx="763284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287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400">
                <a:solidFill>
                  <a:schemeClr val="tx1"/>
                </a:solidFill>
                <a:latin typeface="+mn-lt"/>
              </a:defRPr>
            </a:lvl2pPr>
            <a:lvl3pPr marL="295275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431800" indent="-134938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582613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5pPr>
            <a:lvl6pPr marL="10398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6pPr>
            <a:lvl7pPr marL="14970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7pPr>
            <a:lvl8pPr marL="19542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8pPr>
            <a:lvl9pPr marL="24114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buNone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	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Координационный Совет при Правительстве </a:t>
            </a:r>
            <a:r>
              <a:rPr lang="ru-RU" sz="1400" b="1" kern="0" dirty="0">
                <a:solidFill>
                  <a:srgbClr val="000000"/>
                </a:solidFill>
                <a:latin typeface="Arial"/>
              </a:rPr>
              <a:t>Иркутской </a:t>
            </a:r>
            <a:r>
              <a:rPr lang="ru-RU" sz="1400" b="1" kern="0" dirty="0" smtClean="0">
                <a:solidFill>
                  <a:srgbClr val="000000"/>
                </a:solidFill>
                <a:latin typeface="Arial"/>
              </a:rPr>
              <a:t>области по </a:t>
            </a:r>
            <a:r>
              <a:rPr lang="ru-RU" sz="1400" b="1" kern="0" dirty="0">
                <a:solidFill>
                  <a:srgbClr val="000000"/>
                </a:solidFill>
                <a:latin typeface="Arial"/>
              </a:rPr>
              <a:t>обеспечению поэтапного доступа СОНКО, осуществляющих деятельность в социальной сфере, к бюджетным средствам, выделяемым на предоставление социальных услуг населению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</a:p>
        </p:txBody>
      </p:sp>
      <p:sp>
        <p:nvSpPr>
          <p:cNvPr id="129" name="Содержимое 8"/>
          <p:cNvSpPr txBox="1">
            <a:spLocks/>
          </p:cNvSpPr>
          <p:nvPr/>
        </p:nvSpPr>
        <p:spPr bwMode="auto">
          <a:xfrm>
            <a:off x="4891913" y="3334136"/>
            <a:ext cx="3868795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287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400">
                <a:solidFill>
                  <a:schemeClr val="tx1"/>
                </a:solidFill>
                <a:latin typeface="+mn-lt"/>
              </a:defRPr>
            </a:lvl2pPr>
            <a:lvl3pPr marL="295275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431800" indent="-134938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582613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5pPr>
            <a:lvl6pPr marL="10398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6pPr>
            <a:lvl7pPr marL="14970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7pPr>
            <a:lvl8pPr marL="19542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8pPr>
            <a:lvl9pPr marL="24114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171450" lvl="1" indent="-171450">
              <a:buFontTx/>
              <a:buChar char="-"/>
            </a:pPr>
            <a:r>
              <a:rPr lang="ru-RU" sz="1200" kern="0" dirty="0" smtClean="0">
                <a:solidFill>
                  <a:srgbClr val="000000"/>
                </a:solidFill>
                <a:latin typeface="Arial"/>
              </a:rPr>
              <a:t>представители </a:t>
            </a:r>
            <a:r>
              <a:rPr lang="ru-RU" sz="1200" kern="0" dirty="0">
                <a:solidFill>
                  <a:srgbClr val="000000"/>
                </a:solidFill>
                <a:latin typeface="Arial"/>
              </a:rPr>
              <a:t>Правительства Иркутской </a:t>
            </a:r>
            <a:r>
              <a:rPr lang="ru-RU" sz="1200" kern="0" dirty="0" smtClean="0">
                <a:solidFill>
                  <a:srgbClr val="000000"/>
                </a:solidFill>
                <a:latin typeface="Arial"/>
              </a:rPr>
              <a:t>области </a:t>
            </a:r>
            <a:r>
              <a:rPr lang="ru-RU" sz="1200" i="1" kern="0" dirty="0" smtClean="0">
                <a:solidFill>
                  <a:srgbClr val="000000"/>
                </a:solidFill>
                <a:latin typeface="Arial"/>
              </a:rPr>
              <a:t>(председатель Координационного Совета – </a:t>
            </a:r>
            <a:r>
              <a:rPr lang="ru-RU" sz="1200" i="1" kern="0" dirty="0" err="1" smtClean="0">
                <a:solidFill>
                  <a:srgbClr val="000000"/>
                </a:solidFill>
                <a:latin typeface="Arial"/>
              </a:rPr>
              <a:t>В.Ф.Вобликова</a:t>
            </a:r>
            <a:r>
              <a:rPr lang="ru-RU" sz="1200" i="1" kern="0" dirty="0" smtClean="0">
                <a:solidFill>
                  <a:srgbClr val="000000"/>
                </a:solidFill>
                <a:latin typeface="Arial"/>
              </a:rPr>
              <a:t>, заместитель – А.Б. </a:t>
            </a:r>
            <a:r>
              <a:rPr lang="ru-RU" sz="1200" i="1" kern="0" dirty="0" err="1" smtClean="0">
                <a:solidFill>
                  <a:srgbClr val="000000"/>
                </a:solidFill>
                <a:latin typeface="Arial"/>
              </a:rPr>
              <a:t>Логашов</a:t>
            </a:r>
            <a:r>
              <a:rPr lang="ru-RU" sz="1200" i="1" kern="0" dirty="0" smtClean="0">
                <a:solidFill>
                  <a:srgbClr val="000000"/>
                </a:solidFill>
                <a:latin typeface="Arial"/>
              </a:rPr>
              <a:t>, руководители ответственных ИОГВ);</a:t>
            </a:r>
          </a:p>
          <a:p>
            <a:pPr marL="171450" lvl="1" indent="-171450">
              <a:buFontTx/>
              <a:buChar char="-"/>
            </a:pPr>
            <a:endParaRPr lang="ru-RU" sz="1200" i="1" kern="0" dirty="0">
              <a:solidFill>
                <a:srgbClr val="000000"/>
              </a:solidFill>
              <a:latin typeface="Arial"/>
            </a:endParaRPr>
          </a:p>
          <a:p>
            <a:pPr marL="171450" marR="0" lvl="1" indent="-17145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Char char="-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депутаты Законодательного собрания Иркутской области;</a:t>
            </a:r>
          </a:p>
          <a:p>
            <a:pPr marL="0" marR="0" lvl="1" indent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</a:p>
          <a:p>
            <a:pPr marL="171450" marR="0" lvl="1" indent="-17145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Char char="-"/>
              <a:tabLst/>
              <a:defRPr/>
            </a:pPr>
            <a:r>
              <a:rPr lang="ru-RU" sz="1200" kern="0" dirty="0" smtClean="0">
                <a:solidFill>
                  <a:srgbClr val="000000"/>
                </a:solidFill>
                <a:latin typeface="Arial"/>
              </a:rPr>
              <a:t>представители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Общественной палаты Иркутской области;</a:t>
            </a:r>
          </a:p>
          <a:p>
            <a:pPr marL="171450" marR="0" lvl="1" indent="-17145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Char char="-"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  <a:p>
            <a:pPr marL="171450" marR="0" lvl="1" indent="-17145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FontTx/>
              <a:buChar char="-"/>
              <a:tabLst/>
              <a:defRPr/>
            </a:pP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представитель Ассоциации муниципальных образований Иркутской области.</a:t>
            </a:r>
          </a:p>
          <a:p>
            <a:pPr marL="0" marR="0" lvl="1" indent="0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120000"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7" name="Rectangle 1"/>
          <p:cNvSpPr>
            <a:spLocks noChangeArrowheads="1"/>
          </p:cNvSpPr>
          <p:nvPr/>
        </p:nvSpPr>
        <p:spPr bwMode="auto">
          <a:xfrm>
            <a:off x="8502403" y="6478854"/>
            <a:ext cx="6061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1" kern="0" dirty="0">
                <a:solidFill>
                  <a:srgbClr val="2A2A2A"/>
                </a:solidFill>
                <a:latin typeface="Arial"/>
                <a:cs typeface="Times New Roman" pitchFamily="18" charset="0"/>
              </a:rPr>
              <a:t>3</a:t>
            </a:r>
            <a:endParaRPr kumimoji="0" lang="ru-RU" sz="1100" b="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728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Группа 99"/>
          <p:cNvGrpSpPr/>
          <p:nvPr/>
        </p:nvGrpSpPr>
        <p:grpSpPr>
          <a:xfrm rot="21095698">
            <a:off x="900859" y="-1237965"/>
            <a:ext cx="7918345" cy="8662864"/>
            <a:chOff x="2045390" y="1136389"/>
            <a:chExt cx="6214834" cy="5579942"/>
          </a:xfrm>
          <a:solidFill>
            <a:schemeClr val="bg1">
              <a:lumMod val="65000"/>
              <a:alpha val="14000"/>
            </a:schemeClr>
          </a:solidFill>
          <a:effectLst/>
        </p:grpSpPr>
        <p:sp>
          <p:nvSpPr>
            <p:cNvPr id="41" name="Freeform 5"/>
            <p:cNvSpPr>
              <a:spLocks/>
            </p:cNvSpPr>
            <p:nvPr/>
          </p:nvSpPr>
          <p:spPr bwMode="auto">
            <a:xfrm rot="21439583">
              <a:off x="6752056" y="2477586"/>
              <a:ext cx="1508168" cy="1735240"/>
            </a:xfrm>
            <a:custGeom>
              <a:avLst/>
              <a:gdLst/>
              <a:ahLst/>
              <a:cxnLst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30" y="67"/>
                </a:cxn>
                <a:cxn ang="0">
                  <a:pos x="52" y="33"/>
                </a:cxn>
                <a:cxn ang="0">
                  <a:pos x="71" y="6"/>
                </a:cxn>
                <a:cxn ang="0">
                  <a:pos x="106" y="7"/>
                </a:cxn>
                <a:cxn ang="0">
                  <a:pos x="140" y="24"/>
                </a:cxn>
                <a:cxn ang="0">
                  <a:pos x="152" y="47"/>
                </a:cxn>
                <a:cxn ang="0">
                  <a:pos x="175" y="75"/>
                </a:cxn>
                <a:cxn ang="0">
                  <a:pos x="196" y="76"/>
                </a:cxn>
                <a:cxn ang="0">
                  <a:pos x="215" y="69"/>
                </a:cxn>
                <a:cxn ang="0">
                  <a:pos x="238" y="90"/>
                </a:cxn>
                <a:cxn ang="0">
                  <a:pos x="246" y="122"/>
                </a:cxn>
                <a:cxn ang="0">
                  <a:pos x="265" y="145"/>
                </a:cxn>
                <a:cxn ang="0">
                  <a:pos x="258" y="174"/>
                </a:cxn>
                <a:cxn ang="0">
                  <a:pos x="228" y="168"/>
                </a:cxn>
                <a:cxn ang="0">
                  <a:pos x="199" y="185"/>
                </a:cxn>
                <a:cxn ang="0">
                  <a:pos x="196" y="204"/>
                </a:cxn>
                <a:cxn ang="0">
                  <a:pos x="191" y="233"/>
                </a:cxn>
                <a:cxn ang="0">
                  <a:pos x="203" y="257"/>
                </a:cxn>
                <a:cxn ang="0">
                  <a:pos x="213" y="265"/>
                </a:cxn>
                <a:cxn ang="0">
                  <a:pos x="218" y="282"/>
                </a:cxn>
                <a:cxn ang="0">
                  <a:pos x="220" y="302"/>
                </a:cxn>
                <a:cxn ang="0">
                  <a:pos x="187" y="319"/>
                </a:cxn>
                <a:cxn ang="0">
                  <a:pos x="139" y="314"/>
                </a:cxn>
                <a:cxn ang="0">
                  <a:pos x="151" y="292"/>
                </a:cxn>
                <a:cxn ang="0">
                  <a:pos x="113" y="293"/>
                </a:cxn>
                <a:cxn ang="0">
                  <a:pos x="95" y="312"/>
                </a:cxn>
                <a:cxn ang="0">
                  <a:pos x="84" y="328"/>
                </a:cxn>
                <a:cxn ang="0">
                  <a:pos x="59" y="346"/>
                </a:cxn>
                <a:cxn ang="0">
                  <a:pos x="28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31" y="327"/>
                </a:cxn>
                <a:cxn ang="0">
                  <a:pos x="24" y="310"/>
                </a:cxn>
                <a:cxn ang="0">
                  <a:pos x="15" y="288"/>
                </a:cxn>
                <a:cxn ang="0">
                  <a:pos x="9" y="276"/>
                </a:cxn>
                <a:cxn ang="0">
                  <a:pos x="10" y="257"/>
                </a:cxn>
                <a:cxn ang="0">
                  <a:pos x="14" y="226"/>
                </a:cxn>
                <a:cxn ang="0">
                  <a:pos x="25" y="209"/>
                </a:cxn>
                <a:cxn ang="0">
                  <a:pos x="18" y="184"/>
                </a:cxn>
                <a:cxn ang="0">
                  <a:pos x="23" y="160"/>
                </a:cxn>
                <a:cxn ang="0">
                  <a:pos x="24" y="129"/>
                </a:cxn>
                <a:cxn ang="0">
                  <a:pos x="18" y="104"/>
                </a:cxn>
              </a:cxnLst>
              <a:rect l="0" t="0" r="r" b="b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8" y="350"/>
                  </a:lnTo>
                  <a:lnTo>
                    <a:pt x="28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auto">
            <a:xfrm rot="21439583">
              <a:off x="5936291" y="2923073"/>
              <a:ext cx="1012112" cy="1287381"/>
            </a:xfrm>
            <a:custGeom>
              <a:avLst/>
              <a:gdLst/>
              <a:ahLst/>
              <a:cxnLst>
                <a:cxn ang="0">
                  <a:pos x="8" y="81"/>
                </a:cxn>
                <a:cxn ang="0">
                  <a:pos x="18" y="70"/>
                </a:cxn>
                <a:cxn ang="0">
                  <a:pos x="25" y="59"/>
                </a:cxn>
                <a:cxn ang="0">
                  <a:pos x="36" y="51"/>
                </a:cxn>
                <a:cxn ang="0">
                  <a:pos x="52" y="47"/>
                </a:cxn>
                <a:cxn ang="0">
                  <a:pos x="77" y="41"/>
                </a:cxn>
                <a:cxn ang="0">
                  <a:pos x="88" y="29"/>
                </a:cxn>
                <a:cxn ang="0">
                  <a:pos x="98" y="27"/>
                </a:cxn>
                <a:cxn ang="0">
                  <a:pos x="105" y="40"/>
                </a:cxn>
                <a:cxn ang="0">
                  <a:pos x="108" y="51"/>
                </a:cxn>
                <a:cxn ang="0">
                  <a:pos x="106" y="64"/>
                </a:cxn>
                <a:cxn ang="0">
                  <a:pos x="121" y="54"/>
                </a:cxn>
                <a:cxn ang="0">
                  <a:pos x="137" y="51"/>
                </a:cxn>
                <a:cxn ang="0">
                  <a:pos x="149" y="43"/>
                </a:cxn>
                <a:cxn ang="0">
                  <a:pos x="147" y="28"/>
                </a:cxn>
                <a:cxn ang="0">
                  <a:pos x="152" y="15"/>
                </a:cxn>
                <a:cxn ang="0">
                  <a:pos x="159" y="9"/>
                </a:cxn>
                <a:cxn ang="0">
                  <a:pos x="171" y="8"/>
                </a:cxn>
                <a:cxn ang="0">
                  <a:pos x="166" y="38"/>
                </a:cxn>
                <a:cxn ang="0">
                  <a:pos x="167" y="59"/>
                </a:cxn>
                <a:cxn ang="0">
                  <a:pos x="177" y="80"/>
                </a:cxn>
                <a:cxn ang="0">
                  <a:pos x="167" y="99"/>
                </a:cxn>
                <a:cxn ang="0">
                  <a:pos x="181" y="121"/>
                </a:cxn>
                <a:cxn ang="0">
                  <a:pos x="169" y="140"/>
                </a:cxn>
                <a:cxn ang="0">
                  <a:pos x="152" y="161"/>
                </a:cxn>
                <a:cxn ang="0">
                  <a:pos x="149" y="180"/>
                </a:cxn>
                <a:cxn ang="0">
                  <a:pos x="149" y="197"/>
                </a:cxn>
                <a:cxn ang="0">
                  <a:pos x="168" y="216"/>
                </a:cxn>
                <a:cxn ang="0">
                  <a:pos x="171" y="234"/>
                </a:cxn>
                <a:cxn ang="0">
                  <a:pos x="180" y="253"/>
                </a:cxn>
                <a:cxn ang="0">
                  <a:pos x="171" y="265"/>
                </a:cxn>
                <a:cxn ang="0">
                  <a:pos x="156" y="268"/>
                </a:cxn>
                <a:cxn ang="0">
                  <a:pos x="141" y="261"/>
                </a:cxn>
                <a:cxn ang="0">
                  <a:pos x="135" y="244"/>
                </a:cxn>
                <a:cxn ang="0">
                  <a:pos x="127" y="255"/>
                </a:cxn>
                <a:cxn ang="0">
                  <a:pos x="117" y="254"/>
                </a:cxn>
                <a:cxn ang="0">
                  <a:pos x="104" y="251"/>
                </a:cxn>
                <a:cxn ang="0">
                  <a:pos x="92" y="252"/>
                </a:cxn>
                <a:cxn ang="0">
                  <a:pos x="74" y="239"/>
                </a:cxn>
                <a:cxn ang="0">
                  <a:pos x="62" y="265"/>
                </a:cxn>
                <a:cxn ang="0">
                  <a:pos x="29" y="265"/>
                </a:cxn>
                <a:cxn ang="0">
                  <a:pos x="49" y="240"/>
                </a:cxn>
                <a:cxn ang="0">
                  <a:pos x="41" y="213"/>
                </a:cxn>
                <a:cxn ang="0">
                  <a:pos x="41" y="194"/>
                </a:cxn>
                <a:cxn ang="0">
                  <a:pos x="32" y="176"/>
                </a:cxn>
                <a:cxn ang="0">
                  <a:pos x="24" y="155"/>
                </a:cxn>
                <a:cxn ang="0">
                  <a:pos x="34" y="141"/>
                </a:cxn>
                <a:cxn ang="0">
                  <a:pos x="47" y="129"/>
                </a:cxn>
                <a:cxn ang="0">
                  <a:pos x="70" y="116"/>
                </a:cxn>
                <a:cxn ang="0">
                  <a:pos x="68" y="82"/>
                </a:cxn>
                <a:cxn ang="0">
                  <a:pos x="38" y="84"/>
                </a:cxn>
                <a:cxn ang="0">
                  <a:pos x="18" y="100"/>
                </a:cxn>
                <a:cxn ang="0">
                  <a:pos x="4" y="89"/>
                </a:cxn>
              </a:cxnLst>
              <a:rect l="0" t="0" r="r" b="b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auto">
            <a:xfrm rot="21439583">
              <a:off x="2936531" y="3794175"/>
              <a:ext cx="630071" cy="1077926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30" y="31"/>
                </a:cxn>
                <a:cxn ang="0">
                  <a:pos x="35" y="28"/>
                </a:cxn>
                <a:cxn ang="0">
                  <a:pos x="46" y="27"/>
                </a:cxn>
                <a:cxn ang="0">
                  <a:pos x="52" y="20"/>
                </a:cxn>
                <a:cxn ang="0">
                  <a:pos x="59" y="12"/>
                </a:cxn>
                <a:cxn ang="0">
                  <a:pos x="61" y="2"/>
                </a:cxn>
                <a:cxn ang="0">
                  <a:pos x="78" y="4"/>
                </a:cxn>
                <a:cxn ang="0">
                  <a:pos x="79" y="18"/>
                </a:cxn>
                <a:cxn ang="0">
                  <a:pos x="84" y="24"/>
                </a:cxn>
                <a:cxn ang="0">
                  <a:pos x="91" y="28"/>
                </a:cxn>
                <a:cxn ang="0">
                  <a:pos x="93" y="51"/>
                </a:cxn>
                <a:cxn ang="0">
                  <a:pos x="108" y="64"/>
                </a:cxn>
                <a:cxn ang="0">
                  <a:pos x="107" y="78"/>
                </a:cxn>
                <a:cxn ang="0">
                  <a:pos x="105" y="88"/>
                </a:cxn>
                <a:cxn ang="0">
                  <a:pos x="110" y="94"/>
                </a:cxn>
                <a:cxn ang="0">
                  <a:pos x="111" y="104"/>
                </a:cxn>
                <a:cxn ang="0">
                  <a:pos x="98" y="112"/>
                </a:cxn>
                <a:cxn ang="0">
                  <a:pos x="98" y="115"/>
                </a:cxn>
                <a:cxn ang="0">
                  <a:pos x="98" y="115"/>
                </a:cxn>
                <a:cxn ang="0">
                  <a:pos x="88" y="120"/>
                </a:cxn>
                <a:cxn ang="0">
                  <a:pos x="83" y="129"/>
                </a:cxn>
                <a:cxn ang="0">
                  <a:pos x="74" y="130"/>
                </a:cxn>
                <a:cxn ang="0">
                  <a:pos x="71" y="139"/>
                </a:cxn>
                <a:cxn ang="0">
                  <a:pos x="81" y="150"/>
                </a:cxn>
                <a:cxn ang="0">
                  <a:pos x="86" y="159"/>
                </a:cxn>
                <a:cxn ang="0">
                  <a:pos x="97" y="159"/>
                </a:cxn>
                <a:cxn ang="0">
                  <a:pos x="101" y="165"/>
                </a:cxn>
                <a:cxn ang="0">
                  <a:pos x="99" y="206"/>
                </a:cxn>
                <a:cxn ang="0">
                  <a:pos x="92" y="210"/>
                </a:cxn>
                <a:cxn ang="0">
                  <a:pos x="78" y="209"/>
                </a:cxn>
                <a:cxn ang="0">
                  <a:pos x="71" y="215"/>
                </a:cxn>
                <a:cxn ang="0">
                  <a:pos x="71" y="223"/>
                </a:cxn>
                <a:cxn ang="0">
                  <a:pos x="61" y="221"/>
                </a:cxn>
                <a:cxn ang="0">
                  <a:pos x="55" y="226"/>
                </a:cxn>
                <a:cxn ang="0">
                  <a:pos x="44" y="215"/>
                </a:cxn>
                <a:cxn ang="0">
                  <a:pos x="37" y="215"/>
                </a:cxn>
                <a:cxn ang="0">
                  <a:pos x="27" y="207"/>
                </a:cxn>
                <a:cxn ang="0">
                  <a:pos x="18" y="200"/>
                </a:cxn>
                <a:cxn ang="0">
                  <a:pos x="7" y="186"/>
                </a:cxn>
                <a:cxn ang="0">
                  <a:pos x="10" y="179"/>
                </a:cxn>
                <a:cxn ang="0">
                  <a:pos x="4" y="173"/>
                </a:cxn>
                <a:cxn ang="0">
                  <a:pos x="6" y="163"/>
                </a:cxn>
                <a:cxn ang="0">
                  <a:pos x="1" y="153"/>
                </a:cxn>
                <a:cxn ang="0">
                  <a:pos x="4" y="146"/>
                </a:cxn>
                <a:cxn ang="0">
                  <a:pos x="6" y="136"/>
                </a:cxn>
                <a:cxn ang="0">
                  <a:pos x="7" y="123"/>
                </a:cxn>
                <a:cxn ang="0">
                  <a:pos x="5" y="110"/>
                </a:cxn>
                <a:cxn ang="0">
                  <a:pos x="10" y="104"/>
                </a:cxn>
                <a:cxn ang="0">
                  <a:pos x="8" y="91"/>
                </a:cxn>
                <a:cxn ang="0">
                  <a:pos x="19" y="89"/>
                </a:cxn>
                <a:cxn ang="0">
                  <a:pos x="17" y="77"/>
                </a:cxn>
                <a:cxn ang="0">
                  <a:pos x="23" y="72"/>
                </a:cxn>
                <a:cxn ang="0">
                  <a:pos x="24" y="52"/>
                </a:cxn>
                <a:cxn ang="0">
                  <a:pos x="29" y="45"/>
                </a:cxn>
                <a:cxn ang="0">
                  <a:pos x="28" y="32"/>
                </a:cxn>
              </a:cxnLst>
              <a:rect l="0" t="0" r="r" b="b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lnTo>
                    <a:pt x="98" y="115"/>
                  </a:ln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5" name="Freeform 9"/>
            <p:cNvSpPr>
              <a:spLocks noEditPoints="1"/>
            </p:cNvSpPr>
            <p:nvPr/>
          </p:nvSpPr>
          <p:spPr bwMode="auto">
            <a:xfrm rot="21439583">
              <a:off x="2045390" y="4696010"/>
              <a:ext cx="1344150" cy="1263539"/>
            </a:xfrm>
            <a:custGeom>
              <a:avLst/>
              <a:gdLst/>
              <a:ahLst/>
              <a:cxnLst>
                <a:cxn ang="0">
                  <a:pos x="210" y="238"/>
                </a:cxn>
                <a:cxn ang="0">
                  <a:pos x="199" y="253"/>
                </a:cxn>
                <a:cxn ang="0">
                  <a:pos x="167" y="264"/>
                </a:cxn>
                <a:cxn ang="0">
                  <a:pos x="160" y="247"/>
                </a:cxn>
                <a:cxn ang="0">
                  <a:pos x="142" y="251"/>
                </a:cxn>
                <a:cxn ang="0">
                  <a:pos x="120" y="238"/>
                </a:cxn>
                <a:cxn ang="0">
                  <a:pos x="111" y="226"/>
                </a:cxn>
                <a:cxn ang="0">
                  <a:pos x="92" y="218"/>
                </a:cxn>
                <a:cxn ang="0">
                  <a:pos x="77" y="201"/>
                </a:cxn>
                <a:cxn ang="0">
                  <a:pos x="49" y="182"/>
                </a:cxn>
                <a:cxn ang="0">
                  <a:pos x="35" y="183"/>
                </a:cxn>
                <a:cxn ang="0">
                  <a:pos x="19" y="162"/>
                </a:cxn>
                <a:cxn ang="0">
                  <a:pos x="10" y="145"/>
                </a:cxn>
                <a:cxn ang="0">
                  <a:pos x="1" y="126"/>
                </a:cxn>
                <a:cxn ang="0">
                  <a:pos x="15" y="120"/>
                </a:cxn>
                <a:cxn ang="0">
                  <a:pos x="27" y="106"/>
                </a:cxn>
                <a:cxn ang="0">
                  <a:pos x="43" y="112"/>
                </a:cxn>
                <a:cxn ang="0">
                  <a:pos x="55" y="91"/>
                </a:cxn>
                <a:cxn ang="0">
                  <a:pos x="58" y="79"/>
                </a:cxn>
                <a:cxn ang="0">
                  <a:pos x="79" y="80"/>
                </a:cxn>
                <a:cxn ang="0">
                  <a:pos x="98" y="86"/>
                </a:cxn>
                <a:cxn ang="0">
                  <a:pos x="109" y="106"/>
                </a:cxn>
                <a:cxn ang="0">
                  <a:pos x="128" y="107"/>
                </a:cxn>
                <a:cxn ang="0">
                  <a:pos x="128" y="83"/>
                </a:cxn>
                <a:cxn ang="0">
                  <a:pos x="131" y="67"/>
                </a:cxn>
                <a:cxn ang="0">
                  <a:pos x="151" y="71"/>
                </a:cxn>
                <a:cxn ang="0">
                  <a:pos x="140" y="44"/>
                </a:cxn>
                <a:cxn ang="0">
                  <a:pos x="147" y="27"/>
                </a:cxn>
                <a:cxn ang="0">
                  <a:pos x="170" y="12"/>
                </a:cxn>
                <a:cxn ang="0">
                  <a:pos x="179" y="4"/>
                </a:cxn>
                <a:cxn ang="0">
                  <a:pos x="196" y="21"/>
                </a:cxn>
                <a:cxn ang="0">
                  <a:pos x="224" y="40"/>
                </a:cxn>
                <a:cxn ang="0">
                  <a:pos x="235" y="48"/>
                </a:cxn>
                <a:cxn ang="0">
                  <a:pos x="228" y="81"/>
                </a:cxn>
                <a:cxn ang="0">
                  <a:pos x="226" y="101"/>
                </a:cxn>
                <a:cxn ang="0">
                  <a:pos x="225" y="132"/>
                </a:cxn>
                <a:cxn ang="0">
                  <a:pos x="218" y="145"/>
                </a:cxn>
                <a:cxn ang="0">
                  <a:pos x="203" y="173"/>
                </a:cxn>
                <a:cxn ang="0">
                  <a:pos x="191" y="189"/>
                </a:cxn>
                <a:cxn ang="0">
                  <a:pos x="191" y="210"/>
                </a:cxn>
                <a:cxn ang="0">
                  <a:pos x="211" y="225"/>
                </a:cxn>
                <a:cxn ang="0">
                  <a:pos x="177" y="1"/>
                </a:cxn>
                <a:cxn ang="0">
                  <a:pos x="58" y="76"/>
                </a:cxn>
                <a:cxn ang="0">
                  <a:pos x="57" y="76"/>
                </a:cxn>
              </a:cxnLst>
              <a:rect l="0" t="0" r="r" b="b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6" name="Freeform 12"/>
            <p:cNvSpPr>
              <a:spLocks noEditPoints="1"/>
            </p:cNvSpPr>
            <p:nvPr/>
          </p:nvSpPr>
          <p:spPr bwMode="auto">
            <a:xfrm rot="21439583">
              <a:off x="5098311" y="3274651"/>
              <a:ext cx="1306145" cy="1008108"/>
            </a:xfrm>
            <a:custGeom>
              <a:avLst/>
              <a:gdLst/>
              <a:ahLst/>
              <a:cxnLst>
                <a:cxn ang="0">
                  <a:pos x="139" y="12"/>
                </a:cxn>
                <a:cxn ang="0">
                  <a:pos x="156" y="21"/>
                </a:cxn>
                <a:cxn ang="0">
                  <a:pos x="170" y="32"/>
                </a:cxn>
                <a:cxn ang="0">
                  <a:pos x="190" y="16"/>
                </a:cxn>
                <a:cxn ang="0">
                  <a:pos x="220" y="14"/>
                </a:cxn>
                <a:cxn ang="0">
                  <a:pos x="222" y="48"/>
                </a:cxn>
                <a:cxn ang="0">
                  <a:pos x="199" y="61"/>
                </a:cxn>
                <a:cxn ang="0">
                  <a:pos x="186" y="73"/>
                </a:cxn>
                <a:cxn ang="0">
                  <a:pos x="176" y="87"/>
                </a:cxn>
                <a:cxn ang="0">
                  <a:pos x="184" y="108"/>
                </a:cxn>
                <a:cxn ang="0">
                  <a:pos x="193" y="126"/>
                </a:cxn>
                <a:cxn ang="0">
                  <a:pos x="193" y="145"/>
                </a:cxn>
                <a:cxn ang="0">
                  <a:pos x="201" y="172"/>
                </a:cxn>
                <a:cxn ang="0">
                  <a:pos x="181" y="197"/>
                </a:cxn>
                <a:cxn ang="0">
                  <a:pos x="168" y="189"/>
                </a:cxn>
                <a:cxn ang="0">
                  <a:pos x="156" y="199"/>
                </a:cxn>
                <a:cxn ang="0">
                  <a:pos x="130" y="187"/>
                </a:cxn>
                <a:cxn ang="0">
                  <a:pos x="112" y="182"/>
                </a:cxn>
                <a:cxn ang="0">
                  <a:pos x="103" y="147"/>
                </a:cxn>
                <a:cxn ang="0">
                  <a:pos x="76" y="150"/>
                </a:cxn>
                <a:cxn ang="0">
                  <a:pos x="61" y="182"/>
                </a:cxn>
                <a:cxn ang="0">
                  <a:pos x="47" y="189"/>
                </a:cxn>
                <a:cxn ang="0">
                  <a:pos x="23" y="207"/>
                </a:cxn>
                <a:cxn ang="0">
                  <a:pos x="0" y="192"/>
                </a:cxn>
                <a:cxn ang="0">
                  <a:pos x="11" y="178"/>
                </a:cxn>
                <a:cxn ang="0">
                  <a:pos x="18" y="159"/>
                </a:cxn>
                <a:cxn ang="0">
                  <a:pos x="13" y="133"/>
                </a:cxn>
                <a:cxn ang="0">
                  <a:pos x="26" y="125"/>
                </a:cxn>
                <a:cxn ang="0">
                  <a:pos x="10" y="108"/>
                </a:cxn>
                <a:cxn ang="0">
                  <a:pos x="12" y="79"/>
                </a:cxn>
                <a:cxn ang="0">
                  <a:pos x="23" y="73"/>
                </a:cxn>
                <a:cxn ang="0">
                  <a:pos x="29" y="54"/>
                </a:cxn>
                <a:cxn ang="0">
                  <a:pos x="42" y="44"/>
                </a:cxn>
                <a:cxn ang="0">
                  <a:pos x="52" y="52"/>
                </a:cxn>
                <a:cxn ang="0">
                  <a:pos x="64" y="67"/>
                </a:cxn>
                <a:cxn ang="0">
                  <a:pos x="77" y="81"/>
                </a:cxn>
                <a:cxn ang="0">
                  <a:pos x="85" y="57"/>
                </a:cxn>
                <a:cxn ang="0">
                  <a:pos x="89" y="36"/>
                </a:cxn>
                <a:cxn ang="0">
                  <a:pos x="107" y="16"/>
                </a:cxn>
                <a:cxn ang="0">
                  <a:pos x="128" y="0"/>
                </a:cxn>
                <a:cxn ang="0">
                  <a:pos x="234" y="174"/>
                </a:cxn>
                <a:cxn ang="0">
                  <a:pos x="181" y="197"/>
                </a:cxn>
                <a:cxn ang="0">
                  <a:pos x="181" y="197"/>
                </a:cxn>
                <a:cxn ang="0">
                  <a:pos x="181" y="197"/>
                </a:cxn>
              </a:cxnLst>
              <a:rect l="0" t="0" r="r" b="b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7" name="Freeform 13"/>
            <p:cNvSpPr>
              <a:spLocks/>
            </p:cNvSpPr>
            <p:nvPr/>
          </p:nvSpPr>
          <p:spPr bwMode="auto">
            <a:xfrm rot="21439583">
              <a:off x="3027423" y="5063253"/>
              <a:ext cx="598067" cy="807167"/>
            </a:xfrm>
            <a:custGeom>
              <a:avLst/>
              <a:gdLst/>
              <a:ahLst/>
              <a:cxnLst>
                <a:cxn ang="0">
                  <a:pos x="58" y="170"/>
                </a:cxn>
                <a:cxn ang="0">
                  <a:pos x="61" y="162"/>
                </a:cxn>
                <a:cxn ang="0">
                  <a:pos x="57" y="159"/>
                </a:cxn>
                <a:cxn ang="0">
                  <a:pos x="55" y="151"/>
                </a:cxn>
                <a:cxn ang="0">
                  <a:pos x="49" y="151"/>
                </a:cxn>
                <a:cxn ang="0">
                  <a:pos x="46" y="150"/>
                </a:cxn>
                <a:cxn ang="0">
                  <a:pos x="36" y="143"/>
                </a:cxn>
                <a:cxn ang="0">
                  <a:pos x="28" y="135"/>
                </a:cxn>
                <a:cxn ang="0">
                  <a:pos x="20" y="141"/>
                </a:cxn>
                <a:cxn ang="0">
                  <a:pos x="16" y="128"/>
                </a:cxn>
                <a:cxn ang="0">
                  <a:pos x="12" y="116"/>
                </a:cxn>
                <a:cxn ang="0">
                  <a:pos x="2" y="107"/>
                </a:cxn>
                <a:cxn ang="0">
                  <a:pos x="16" y="107"/>
                </a:cxn>
                <a:cxn ang="0">
                  <a:pos x="12" y="98"/>
                </a:cxn>
                <a:cxn ang="0">
                  <a:pos x="16" y="89"/>
                </a:cxn>
                <a:cxn ang="0">
                  <a:pos x="28" y="91"/>
                </a:cxn>
                <a:cxn ang="0">
                  <a:pos x="31" y="79"/>
                </a:cxn>
                <a:cxn ang="0">
                  <a:pos x="31" y="66"/>
                </a:cxn>
                <a:cxn ang="0">
                  <a:pos x="43" y="63"/>
                </a:cxn>
                <a:cxn ang="0">
                  <a:pos x="34" y="54"/>
                </a:cxn>
                <a:cxn ang="0">
                  <a:pos x="35" y="45"/>
                </a:cxn>
                <a:cxn ang="0">
                  <a:pos x="50" y="50"/>
                </a:cxn>
                <a:cxn ang="0">
                  <a:pos x="53" y="40"/>
                </a:cxn>
                <a:cxn ang="0">
                  <a:pos x="48" y="31"/>
                </a:cxn>
                <a:cxn ang="0">
                  <a:pos x="51" y="19"/>
                </a:cxn>
                <a:cxn ang="0">
                  <a:pos x="43" y="12"/>
                </a:cxn>
                <a:cxn ang="0">
                  <a:pos x="46" y="4"/>
                </a:cxn>
                <a:cxn ang="0">
                  <a:pos x="50" y="2"/>
                </a:cxn>
                <a:cxn ang="0">
                  <a:pos x="91" y="3"/>
                </a:cxn>
                <a:cxn ang="0">
                  <a:pos x="95" y="9"/>
                </a:cxn>
                <a:cxn ang="0">
                  <a:pos x="107" y="9"/>
                </a:cxn>
                <a:cxn ang="0">
                  <a:pos x="103" y="14"/>
                </a:cxn>
                <a:cxn ang="0">
                  <a:pos x="105" y="20"/>
                </a:cxn>
                <a:cxn ang="0">
                  <a:pos x="97" y="21"/>
                </a:cxn>
                <a:cxn ang="0">
                  <a:pos x="87" y="26"/>
                </a:cxn>
                <a:cxn ang="0">
                  <a:pos x="88" y="34"/>
                </a:cxn>
                <a:cxn ang="0">
                  <a:pos x="97" y="34"/>
                </a:cxn>
                <a:cxn ang="0">
                  <a:pos x="98" y="41"/>
                </a:cxn>
                <a:cxn ang="0">
                  <a:pos x="105" y="44"/>
                </a:cxn>
                <a:cxn ang="0">
                  <a:pos x="107" y="55"/>
                </a:cxn>
                <a:cxn ang="0">
                  <a:pos x="104" y="62"/>
                </a:cxn>
                <a:cxn ang="0">
                  <a:pos x="100" y="63"/>
                </a:cxn>
                <a:cxn ang="0">
                  <a:pos x="101" y="73"/>
                </a:cxn>
                <a:cxn ang="0">
                  <a:pos x="97" y="77"/>
                </a:cxn>
                <a:cxn ang="0">
                  <a:pos x="82" y="80"/>
                </a:cxn>
                <a:cxn ang="0">
                  <a:pos x="81" y="86"/>
                </a:cxn>
                <a:cxn ang="0">
                  <a:pos x="91" y="89"/>
                </a:cxn>
                <a:cxn ang="0">
                  <a:pos x="94" y="94"/>
                </a:cxn>
                <a:cxn ang="0">
                  <a:pos x="87" y="95"/>
                </a:cxn>
                <a:cxn ang="0">
                  <a:pos x="85" y="103"/>
                </a:cxn>
                <a:cxn ang="0">
                  <a:pos x="77" y="106"/>
                </a:cxn>
                <a:cxn ang="0">
                  <a:pos x="77" y="115"/>
                </a:cxn>
                <a:cxn ang="0">
                  <a:pos x="85" y="115"/>
                </a:cxn>
                <a:cxn ang="0">
                  <a:pos x="91" y="119"/>
                </a:cxn>
                <a:cxn ang="0">
                  <a:pos x="90" y="126"/>
                </a:cxn>
                <a:cxn ang="0">
                  <a:pos x="83" y="130"/>
                </a:cxn>
                <a:cxn ang="0">
                  <a:pos x="77" y="138"/>
                </a:cxn>
                <a:cxn ang="0">
                  <a:pos x="76" y="148"/>
                </a:cxn>
                <a:cxn ang="0">
                  <a:pos x="65" y="147"/>
                </a:cxn>
                <a:cxn ang="0">
                  <a:pos x="62" y="151"/>
                </a:cxn>
                <a:cxn ang="0">
                  <a:pos x="66" y="154"/>
                </a:cxn>
                <a:cxn ang="0">
                  <a:pos x="69" y="160"/>
                </a:cxn>
                <a:cxn ang="0">
                  <a:pos x="58" y="170"/>
                </a:cxn>
              </a:cxnLst>
              <a:rect l="0" t="0" r="r" b="b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auto">
            <a:xfrm rot="21439583">
              <a:off x="3356636" y="5584269"/>
              <a:ext cx="720080" cy="480213"/>
            </a:xfrm>
            <a:custGeom>
              <a:avLst/>
              <a:gdLst/>
              <a:ahLst/>
              <a:cxnLst>
                <a:cxn ang="0">
                  <a:pos x="46" y="101"/>
                </a:cxn>
                <a:cxn ang="0">
                  <a:pos x="41" y="97"/>
                </a:cxn>
                <a:cxn ang="0">
                  <a:pos x="35" y="93"/>
                </a:cxn>
                <a:cxn ang="0">
                  <a:pos x="28" y="92"/>
                </a:cxn>
                <a:cxn ang="0">
                  <a:pos x="26" y="87"/>
                </a:cxn>
                <a:cxn ang="0">
                  <a:pos x="19" y="80"/>
                </a:cxn>
                <a:cxn ang="0">
                  <a:pos x="10" y="78"/>
                </a:cxn>
                <a:cxn ang="0">
                  <a:pos x="10" y="73"/>
                </a:cxn>
                <a:cxn ang="0">
                  <a:pos x="4" y="70"/>
                </a:cxn>
                <a:cxn ang="0">
                  <a:pos x="0" y="61"/>
                </a:cxn>
                <a:cxn ang="0">
                  <a:pos x="1" y="57"/>
                </a:cxn>
                <a:cxn ang="0">
                  <a:pos x="10" y="49"/>
                </a:cxn>
                <a:cxn ang="0">
                  <a:pos x="19" y="49"/>
                </a:cxn>
                <a:cxn ang="0">
                  <a:pos x="35" y="49"/>
                </a:cxn>
                <a:cxn ang="0">
                  <a:pos x="36" y="43"/>
                </a:cxn>
                <a:cxn ang="0">
                  <a:pos x="44" y="43"/>
                </a:cxn>
                <a:cxn ang="0">
                  <a:pos x="50" y="39"/>
                </a:cxn>
                <a:cxn ang="0">
                  <a:pos x="57" y="32"/>
                </a:cxn>
                <a:cxn ang="0">
                  <a:pos x="66" y="37"/>
                </a:cxn>
                <a:cxn ang="0">
                  <a:pos x="66" y="31"/>
                </a:cxn>
                <a:cxn ang="0">
                  <a:pos x="74" y="31"/>
                </a:cxn>
                <a:cxn ang="0">
                  <a:pos x="76" y="25"/>
                </a:cxn>
                <a:cxn ang="0">
                  <a:pos x="84" y="24"/>
                </a:cxn>
                <a:cxn ang="0">
                  <a:pos x="87" y="17"/>
                </a:cxn>
                <a:cxn ang="0">
                  <a:pos x="93" y="15"/>
                </a:cxn>
                <a:cxn ang="0">
                  <a:pos x="101" y="9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114" y="9"/>
                </a:cxn>
                <a:cxn ang="0">
                  <a:pos x="120" y="9"/>
                </a:cxn>
                <a:cxn ang="0">
                  <a:pos x="123" y="13"/>
                </a:cxn>
                <a:cxn ang="0">
                  <a:pos x="118" y="17"/>
                </a:cxn>
                <a:cxn ang="0">
                  <a:pos x="122" y="20"/>
                </a:cxn>
                <a:cxn ang="0">
                  <a:pos x="127" y="22"/>
                </a:cxn>
                <a:cxn ang="0">
                  <a:pos x="128" y="28"/>
                </a:cxn>
                <a:cxn ang="0">
                  <a:pos x="126" y="36"/>
                </a:cxn>
                <a:cxn ang="0">
                  <a:pos x="119" y="38"/>
                </a:cxn>
                <a:cxn ang="0">
                  <a:pos x="119" y="46"/>
                </a:cxn>
                <a:cxn ang="0">
                  <a:pos x="112" y="43"/>
                </a:cxn>
                <a:cxn ang="0">
                  <a:pos x="110" y="49"/>
                </a:cxn>
                <a:cxn ang="0">
                  <a:pos x="97" y="48"/>
                </a:cxn>
                <a:cxn ang="0">
                  <a:pos x="99" y="59"/>
                </a:cxn>
                <a:cxn ang="0">
                  <a:pos x="87" y="58"/>
                </a:cxn>
                <a:cxn ang="0">
                  <a:pos x="88" y="73"/>
                </a:cxn>
                <a:cxn ang="0">
                  <a:pos x="78" y="72"/>
                </a:cxn>
                <a:cxn ang="0">
                  <a:pos x="66" y="70"/>
                </a:cxn>
                <a:cxn ang="0">
                  <a:pos x="59" y="72"/>
                </a:cxn>
                <a:cxn ang="0">
                  <a:pos x="49" y="80"/>
                </a:cxn>
                <a:cxn ang="0">
                  <a:pos x="42" y="86"/>
                </a:cxn>
                <a:cxn ang="0">
                  <a:pos x="46" y="101"/>
                </a:cxn>
              </a:cxnLst>
              <a:rect l="0" t="0" r="r" b="b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auto">
            <a:xfrm rot="21439583">
              <a:off x="3597638" y="5802537"/>
              <a:ext cx="702080" cy="461482"/>
            </a:xfrm>
            <a:custGeom>
              <a:avLst/>
              <a:gdLst/>
              <a:ahLst/>
              <a:cxnLst>
                <a:cxn ang="0">
                  <a:pos x="57" y="94"/>
                </a:cxn>
                <a:cxn ang="0">
                  <a:pos x="53" y="91"/>
                </a:cxn>
                <a:cxn ang="0">
                  <a:pos x="49" y="96"/>
                </a:cxn>
                <a:cxn ang="0">
                  <a:pos x="42" y="95"/>
                </a:cxn>
                <a:cxn ang="0">
                  <a:pos x="41" y="85"/>
                </a:cxn>
                <a:cxn ang="0">
                  <a:pos x="32" y="81"/>
                </a:cxn>
                <a:cxn ang="0">
                  <a:pos x="28" y="73"/>
                </a:cxn>
                <a:cxn ang="0">
                  <a:pos x="18" y="65"/>
                </a:cxn>
                <a:cxn ang="0">
                  <a:pos x="14" y="59"/>
                </a:cxn>
                <a:cxn ang="0">
                  <a:pos x="2" y="49"/>
                </a:cxn>
                <a:cxn ang="0">
                  <a:pos x="5" y="52"/>
                </a:cxn>
                <a:cxn ang="0">
                  <a:pos x="1" y="37"/>
                </a:cxn>
                <a:cxn ang="0">
                  <a:pos x="8" y="31"/>
                </a:cxn>
                <a:cxn ang="0">
                  <a:pos x="18" y="23"/>
                </a:cxn>
                <a:cxn ang="0">
                  <a:pos x="25" y="21"/>
                </a:cxn>
                <a:cxn ang="0">
                  <a:pos x="37" y="23"/>
                </a:cxn>
                <a:cxn ang="0">
                  <a:pos x="47" y="24"/>
                </a:cxn>
                <a:cxn ang="0">
                  <a:pos x="46" y="9"/>
                </a:cxn>
                <a:cxn ang="0">
                  <a:pos x="58" y="10"/>
                </a:cxn>
                <a:cxn ang="0">
                  <a:pos x="68" y="15"/>
                </a:cxn>
                <a:cxn ang="0">
                  <a:pos x="76" y="26"/>
                </a:cxn>
                <a:cxn ang="0">
                  <a:pos x="87" y="25"/>
                </a:cxn>
                <a:cxn ang="0">
                  <a:pos x="93" y="16"/>
                </a:cxn>
                <a:cxn ang="0">
                  <a:pos x="96" y="5"/>
                </a:cxn>
                <a:cxn ang="0">
                  <a:pos x="106" y="9"/>
                </a:cxn>
                <a:cxn ang="0">
                  <a:pos x="110" y="3"/>
                </a:cxn>
                <a:cxn ang="0">
                  <a:pos x="123" y="0"/>
                </a:cxn>
                <a:cxn ang="0">
                  <a:pos x="125" y="6"/>
                </a:cxn>
                <a:cxn ang="0">
                  <a:pos x="120" y="11"/>
                </a:cxn>
                <a:cxn ang="0">
                  <a:pos x="123" y="32"/>
                </a:cxn>
                <a:cxn ang="0">
                  <a:pos x="116" y="39"/>
                </a:cxn>
                <a:cxn ang="0">
                  <a:pos x="107" y="39"/>
                </a:cxn>
                <a:cxn ang="0">
                  <a:pos x="101" y="45"/>
                </a:cxn>
                <a:cxn ang="0">
                  <a:pos x="99" y="56"/>
                </a:cxn>
                <a:cxn ang="0">
                  <a:pos x="93" y="56"/>
                </a:cxn>
                <a:cxn ang="0">
                  <a:pos x="94" y="66"/>
                </a:cxn>
                <a:cxn ang="0">
                  <a:pos x="88" y="68"/>
                </a:cxn>
                <a:cxn ang="0">
                  <a:pos x="86" y="80"/>
                </a:cxn>
                <a:cxn ang="0">
                  <a:pos x="72" y="85"/>
                </a:cxn>
                <a:cxn ang="0">
                  <a:pos x="70" y="91"/>
                </a:cxn>
                <a:cxn ang="0">
                  <a:pos x="57" y="94"/>
                </a:cxn>
              </a:cxnLst>
              <a:rect l="0" t="0" r="r" b="b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auto">
            <a:xfrm rot="21439583">
              <a:off x="3921661" y="5939952"/>
              <a:ext cx="492055" cy="475105"/>
            </a:xfrm>
            <a:custGeom>
              <a:avLst/>
              <a:gdLst/>
              <a:ahLst/>
              <a:cxnLst>
                <a:cxn ang="0">
                  <a:pos x="18" y="84"/>
                </a:cxn>
                <a:cxn ang="0">
                  <a:pos x="15" y="82"/>
                </a:cxn>
                <a:cxn ang="0">
                  <a:pos x="0" y="64"/>
                </a:cxn>
                <a:cxn ang="0">
                  <a:pos x="13" y="61"/>
                </a:cxn>
                <a:cxn ang="0">
                  <a:pos x="15" y="55"/>
                </a:cxn>
                <a:cxn ang="0">
                  <a:pos x="29" y="50"/>
                </a:cxn>
                <a:cxn ang="0">
                  <a:pos x="31" y="38"/>
                </a:cxn>
                <a:cxn ang="0">
                  <a:pos x="37" y="36"/>
                </a:cxn>
                <a:cxn ang="0">
                  <a:pos x="36" y="26"/>
                </a:cxn>
                <a:cxn ang="0">
                  <a:pos x="42" y="26"/>
                </a:cxn>
                <a:cxn ang="0">
                  <a:pos x="44" y="15"/>
                </a:cxn>
                <a:cxn ang="0">
                  <a:pos x="50" y="9"/>
                </a:cxn>
                <a:cxn ang="0">
                  <a:pos x="59" y="9"/>
                </a:cxn>
                <a:cxn ang="0">
                  <a:pos x="66" y="2"/>
                </a:cxn>
                <a:cxn ang="0">
                  <a:pos x="66" y="0"/>
                </a:cxn>
                <a:cxn ang="0">
                  <a:pos x="73" y="2"/>
                </a:cxn>
                <a:cxn ang="0">
                  <a:pos x="80" y="7"/>
                </a:cxn>
                <a:cxn ang="0">
                  <a:pos x="81" y="18"/>
                </a:cxn>
                <a:cxn ang="0">
                  <a:pos x="86" y="24"/>
                </a:cxn>
                <a:cxn ang="0">
                  <a:pos x="88" y="30"/>
                </a:cxn>
                <a:cxn ang="0">
                  <a:pos x="86" y="37"/>
                </a:cxn>
                <a:cxn ang="0">
                  <a:pos x="80" y="47"/>
                </a:cxn>
                <a:cxn ang="0">
                  <a:pos x="73" y="49"/>
                </a:cxn>
                <a:cxn ang="0">
                  <a:pos x="64" y="52"/>
                </a:cxn>
                <a:cxn ang="0">
                  <a:pos x="55" y="56"/>
                </a:cxn>
                <a:cxn ang="0">
                  <a:pos x="53" y="62"/>
                </a:cxn>
                <a:cxn ang="0">
                  <a:pos x="70" y="62"/>
                </a:cxn>
                <a:cxn ang="0">
                  <a:pos x="71" y="68"/>
                </a:cxn>
                <a:cxn ang="0">
                  <a:pos x="78" y="70"/>
                </a:cxn>
                <a:cxn ang="0">
                  <a:pos x="74" y="77"/>
                </a:cxn>
                <a:cxn ang="0">
                  <a:pos x="67" y="84"/>
                </a:cxn>
                <a:cxn ang="0">
                  <a:pos x="66" y="90"/>
                </a:cxn>
                <a:cxn ang="0">
                  <a:pos x="65" y="98"/>
                </a:cxn>
                <a:cxn ang="0">
                  <a:pos x="57" y="96"/>
                </a:cxn>
                <a:cxn ang="0">
                  <a:pos x="50" y="92"/>
                </a:cxn>
                <a:cxn ang="0">
                  <a:pos x="42" y="90"/>
                </a:cxn>
                <a:cxn ang="0">
                  <a:pos x="35" y="89"/>
                </a:cxn>
                <a:cxn ang="0">
                  <a:pos x="29" y="82"/>
                </a:cxn>
                <a:cxn ang="0">
                  <a:pos x="18" y="84"/>
                </a:cxn>
              </a:cxnLst>
              <a:rect l="0" t="0" r="r" b="b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2" name="Freeform 18"/>
            <p:cNvSpPr>
              <a:spLocks/>
            </p:cNvSpPr>
            <p:nvPr/>
          </p:nvSpPr>
          <p:spPr bwMode="auto">
            <a:xfrm rot="21439583">
              <a:off x="4291159" y="6194786"/>
              <a:ext cx="252028" cy="23159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2" y="8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33" y="8"/>
                </a:cxn>
                <a:cxn ang="0">
                  <a:pos x="35" y="16"/>
                </a:cxn>
                <a:cxn ang="0">
                  <a:pos x="44" y="21"/>
                </a:cxn>
                <a:cxn ang="0">
                  <a:pos x="42" y="34"/>
                </a:cxn>
                <a:cxn ang="0">
                  <a:pos x="35" y="37"/>
                </a:cxn>
                <a:cxn ang="0">
                  <a:pos x="37" y="49"/>
                </a:cxn>
                <a:cxn ang="0">
                  <a:pos x="34" y="48"/>
                </a:cxn>
                <a:cxn ang="0">
                  <a:pos x="19" y="48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1" y="33"/>
                </a:cxn>
                <a:cxn ang="0">
                  <a:pos x="2" y="27"/>
                </a:cxn>
                <a:cxn ang="0">
                  <a:pos x="9" y="20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1"/>
                </a:cxn>
              </a:cxnLst>
              <a:rect l="0" t="0" r="r" b="b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3" name="Freeform 19"/>
            <p:cNvSpPr>
              <a:spLocks/>
            </p:cNvSpPr>
            <p:nvPr/>
          </p:nvSpPr>
          <p:spPr bwMode="auto">
            <a:xfrm rot="21439583">
              <a:off x="4037849" y="6311045"/>
              <a:ext cx="860096" cy="405286"/>
            </a:xfrm>
            <a:custGeom>
              <a:avLst/>
              <a:gdLst/>
              <a:ahLst/>
              <a:cxnLst>
                <a:cxn ang="0">
                  <a:pos x="154" y="30"/>
                </a:cxn>
                <a:cxn ang="0">
                  <a:pos x="142" y="32"/>
                </a:cxn>
                <a:cxn ang="0">
                  <a:pos x="126" y="33"/>
                </a:cxn>
                <a:cxn ang="0">
                  <a:pos x="58" y="32"/>
                </a:cxn>
                <a:cxn ang="0">
                  <a:pos x="114" y="58"/>
                </a:cxn>
                <a:cxn ang="0">
                  <a:pos x="116" y="64"/>
                </a:cxn>
                <a:cxn ang="0">
                  <a:pos x="113" y="72"/>
                </a:cxn>
                <a:cxn ang="0">
                  <a:pos x="88" y="72"/>
                </a:cxn>
                <a:cxn ang="0">
                  <a:pos x="87" y="78"/>
                </a:cxn>
                <a:cxn ang="0">
                  <a:pos x="80" y="78"/>
                </a:cxn>
                <a:cxn ang="0">
                  <a:pos x="76" y="84"/>
                </a:cxn>
                <a:cxn ang="0">
                  <a:pos x="67" y="82"/>
                </a:cxn>
                <a:cxn ang="0">
                  <a:pos x="65" y="74"/>
                </a:cxn>
                <a:cxn ang="0">
                  <a:pos x="63" y="55"/>
                </a:cxn>
                <a:cxn ang="0">
                  <a:pos x="43" y="57"/>
                </a:cxn>
                <a:cxn ang="0">
                  <a:pos x="33" y="49"/>
                </a:cxn>
                <a:cxn ang="0">
                  <a:pos x="34" y="26"/>
                </a:cxn>
                <a:cxn ang="0">
                  <a:pos x="29" y="17"/>
                </a:cxn>
                <a:cxn ang="0">
                  <a:pos x="18" y="15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2" y="0"/>
                </a:cxn>
                <a:cxn ang="0">
                  <a:pos x="18" y="7"/>
                </a:cxn>
                <a:cxn ang="0">
                  <a:pos x="25" y="8"/>
                </a:cxn>
                <a:cxn ang="0">
                  <a:pos x="33" y="10"/>
                </a:cxn>
                <a:cxn ang="0">
                  <a:pos x="40" y="14"/>
                </a:cxn>
                <a:cxn ang="0">
                  <a:pos x="48" y="16"/>
                </a:cxn>
                <a:cxn ang="0">
                  <a:pos x="56" y="22"/>
                </a:cxn>
                <a:cxn ang="0">
                  <a:pos x="67" y="23"/>
                </a:cxn>
                <a:cxn ang="0">
                  <a:pos x="82" y="23"/>
                </a:cxn>
                <a:cxn ang="0">
                  <a:pos x="154" y="30"/>
                </a:cxn>
              </a:cxnLst>
              <a:rect l="0" t="0" r="r" b="b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auto">
            <a:xfrm rot="21439583">
              <a:off x="3440681" y="5018480"/>
              <a:ext cx="586066" cy="618146"/>
            </a:xfrm>
            <a:custGeom>
              <a:avLst/>
              <a:gdLst/>
              <a:ahLst/>
              <a:cxnLst>
                <a:cxn ang="0">
                  <a:pos x="16" y="130"/>
                </a:cxn>
                <a:cxn ang="0">
                  <a:pos x="24" y="128"/>
                </a:cxn>
                <a:cxn ang="0">
                  <a:pos x="24" y="122"/>
                </a:cxn>
                <a:cxn ang="0">
                  <a:pos x="28" y="120"/>
                </a:cxn>
                <a:cxn ang="0">
                  <a:pos x="28" y="109"/>
                </a:cxn>
                <a:cxn ang="0">
                  <a:pos x="44" y="106"/>
                </a:cxn>
                <a:cxn ang="0">
                  <a:pos x="49" y="102"/>
                </a:cxn>
                <a:cxn ang="0">
                  <a:pos x="61" y="102"/>
                </a:cxn>
                <a:cxn ang="0">
                  <a:pos x="69" y="95"/>
                </a:cxn>
                <a:cxn ang="0">
                  <a:pos x="73" y="86"/>
                </a:cxn>
                <a:cxn ang="0">
                  <a:pos x="81" y="84"/>
                </a:cxn>
                <a:cxn ang="0">
                  <a:pos x="84" y="78"/>
                </a:cxn>
                <a:cxn ang="0">
                  <a:pos x="83" y="71"/>
                </a:cxn>
                <a:cxn ang="0">
                  <a:pos x="89" y="65"/>
                </a:cxn>
                <a:cxn ang="0">
                  <a:pos x="101" y="65"/>
                </a:cxn>
                <a:cxn ang="0">
                  <a:pos x="100" y="53"/>
                </a:cxn>
                <a:cxn ang="0">
                  <a:pos x="101" y="46"/>
                </a:cxn>
                <a:cxn ang="0">
                  <a:pos x="104" y="39"/>
                </a:cxn>
                <a:cxn ang="0">
                  <a:pos x="105" y="23"/>
                </a:cxn>
                <a:cxn ang="0">
                  <a:pos x="103" y="22"/>
                </a:cxn>
                <a:cxn ang="0">
                  <a:pos x="98" y="13"/>
                </a:cxn>
                <a:cxn ang="0">
                  <a:pos x="88" y="13"/>
                </a:cxn>
                <a:cxn ang="0">
                  <a:pos x="82" y="1"/>
                </a:cxn>
                <a:cxn ang="0">
                  <a:pos x="75" y="6"/>
                </a:cxn>
                <a:cxn ang="0">
                  <a:pos x="58" y="3"/>
                </a:cxn>
                <a:cxn ang="0">
                  <a:pos x="53" y="11"/>
                </a:cxn>
                <a:cxn ang="0">
                  <a:pos x="44" y="13"/>
                </a:cxn>
                <a:cxn ang="0">
                  <a:pos x="40" y="22"/>
                </a:cxn>
                <a:cxn ang="0">
                  <a:pos x="32" y="15"/>
                </a:cxn>
                <a:cxn ang="0">
                  <a:pos x="32" y="15"/>
                </a:cxn>
                <a:cxn ang="0">
                  <a:pos x="28" y="20"/>
                </a:cxn>
                <a:cxn ang="0">
                  <a:pos x="30" y="26"/>
                </a:cxn>
                <a:cxn ang="0">
                  <a:pos x="22" y="27"/>
                </a:cxn>
                <a:cxn ang="0">
                  <a:pos x="12" y="32"/>
                </a:cxn>
                <a:cxn ang="0">
                  <a:pos x="13" y="40"/>
                </a:cxn>
                <a:cxn ang="0">
                  <a:pos x="22" y="40"/>
                </a:cxn>
                <a:cxn ang="0">
                  <a:pos x="23" y="47"/>
                </a:cxn>
                <a:cxn ang="0">
                  <a:pos x="30" y="50"/>
                </a:cxn>
                <a:cxn ang="0">
                  <a:pos x="32" y="61"/>
                </a:cxn>
                <a:cxn ang="0">
                  <a:pos x="29" y="68"/>
                </a:cxn>
                <a:cxn ang="0">
                  <a:pos x="25" y="69"/>
                </a:cxn>
                <a:cxn ang="0">
                  <a:pos x="26" y="79"/>
                </a:cxn>
                <a:cxn ang="0">
                  <a:pos x="22" y="83"/>
                </a:cxn>
                <a:cxn ang="0">
                  <a:pos x="7" y="86"/>
                </a:cxn>
                <a:cxn ang="0">
                  <a:pos x="6" y="92"/>
                </a:cxn>
                <a:cxn ang="0">
                  <a:pos x="16" y="95"/>
                </a:cxn>
                <a:cxn ang="0">
                  <a:pos x="19" y="100"/>
                </a:cxn>
                <a:cxn ang="0">
                  <a:pos x="12" y="101"/>
                </a:cxn>
                <a:cxn ang="0">
                  <a:pos x="10" y="109"/>
                </a:cxn>
                <a:cxn ang="0">
                  <a:pos x="2" y="112"/>
                </a:cxn>
                <a:cxn ang="0">
                  <a:pos x="2" y="121"/>
                </a:cxn>
                <a:cxn ang="0">
                  <a:pos x="10" y="121"/>
                </a:cxn>
                <a:cxn ang="0">
                  <a:pos x="16" y="125"/>
                </a:cxn>
                <a:cxn ang="0">
                  <a:pos x="16" y="130"/>
                </a:cxn>
              </a:cxnLst>
              <a:rect l="0" t="0" r="r" b="b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6" name="Freeform 21"/>
            <p:cNvSpPr>
              <a:spLocks/>
            </p:cNvSpPr>
            <p:nvPr/>
          </p:nvSpPr>
          <p:spPr bwMode="auto">
            <a:xfrm rot="21439583">
              <a:off x="3372990" y="5323439"/>
              <a:ext cx="688076" cy="502351"/>
            </a:xfrm>
            <a:custGeom>
              <a:avLst/>
              <a:gdLst/>
              <a:ahLst/>
              <a:cxnLst>
                <a:cxn ang="0">
                  <a:pos x="29" y="66"/>
                </a:cxn>
                <a:cxn ang="0">
                  <a:pos x="37" y="64"/>
                </a:cxn>
                <a:cxn ang="0">
                  <a:pos x="37" y="58"/>
                </a:cxn>
                <a:cxn ang="0">
                  <a:pos x="41" y="56"/>
                </a:cxn>
                <a:cxn ang="0">
                  <a:pos x="41" y="45"/>
                </a:cxn>
                <a:cxn ang="0">
                  <a:pos x="57" y="42"/>
                </a:cxn>
                <a:cxn ang="0">
                  <a:pos x="62" y="38"/>
                </a:cxn>
                <a:cxn ang="0">
                  <a:pos x="74" y="38"/>
                </a:cxn>
                <a:cxn ang="0">
                  <a:pos x="82" y="31"/>
                </a:cxn>
                <a:cxn ang="0">
                  <a:pos x="86" y="22"/>
                </a:cxn>
                <a:cxn ang="0">
                  <a:pos x="94" y="20"/>
                </a:cxn>
                <a:cxn ang="0">
                  <a:pos x="97" y="14"/>
                </a:cxn>
                <a:cxn ang="0">
                  <a:pos x="96" y="7"/>
                </a:cxn>
                <a:cxn ang="0">
                  <a:pos x="102" y="1"/>
                </a:cxn>
                <a:cxn ang="0">
                  <a:pos x="112" y="2"/>
                </a:cxn>
                <a:cxn ang="0">
                  <a:pos x="114" y="8"/>
                </a:cxn>
                <a:cxn ang="0">
                  <a:pos x="119" y="13"/>
                </a:cxn>
                <a:cxn ang="0">
                  <a:pos x="123" y="20"/>
                </a:cxn>
                <a:cxn ang="0">
                  <a:pos x="118" y="28"/>
                </a:cxn>
                <a:cxn ang="0">
                  <a:pos x="111" y="33"/>
                </a:cxn>
                <a:cxn ang="0">
                  <a:pos x="115" y="40"/>
                </a:cxn>
                <a:cxn ang="0">
                  <a:pos x="116" y="48"/>
                </a:cxn>
                <a:cxn ang="0">
                  <a:pos x="112" y="55"/>
                </a:cxn>
                <a:cxn ang="0">
                  <a:pos x="104" y="54"/>
                </a:cxn>
                <a:cxn ang="0">
                  <a:pos x="104" y="60"/>
                </a:cxn>
                <a:cxn ang="0">
                  <a:pos x="96" y="64"/>
                </a:cxn>
                <a:cxn ang="0">
                  <a:pos x="88" y="70"/>
                </a:cxn>
                <a:cxn ang="0">
                  <a:pos x="82" y="72"/>
                </a:cxn>
                <a:cxn ang="0">
                  <a:pos x="79" y="79"/>
                </a:cxn>
                <a:cxn ang="0">
                  <a:pos x="71" y="80"/>
                </a:cxn>
                <a:cxn ang="0">
                  <a:pos x="69" y="86"/>
                </a:cxn>
                <a:cxn ang="0">
                  <a:pos x="61" y="86"/>
                </a:cxn>
                <a:cxn ang="0">
                  <a:pos x="61" y="92"/>
                </a:cxn>
                <a:cxn ang="0">
                  <a:pos x="52" y="87"/>
                </a:cxn>
                <a:cxn ang="0">
                  <a:pos x="45" y="94"/>
                </a:cxn>
                <a:cxn ang="0">
                  <a:pos x="39" y="98"/>
                </a:cxn>
                <a:cxn ang="0">
                  <a:pos x="31" y="98"/>
                </a:cxn>
                <a:cxn ang="0">
                  <a:pos x="30" y="104"/>
                </a:cxn>
                <a:cxn ang="0">
                  <a:pos x="14" y="104"/>
                </a:cxn>
                <a:cxn ang="0">
                  <a:pos x="5" y="104"/>
                </a:cxn>
                <a:cxn ang="0">
                  <a:pos x="7" y="102"/>
                </a:cxn>
                <a:cxn ang="0">
                  <a:pos x="4" y="96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4" y="90"/>
                </a:cxn>
                <a:cxn ang="0">
                  <a:pos x="15" y="80"/>
                </a:cxn>
                <a:cxn ang="0">
                  <a:pos x="21" y="72"/>
                </a:cxn>
                <a:cxn ang="0">
                  <a:pos x="28" y="68"/>
                </a:cxn>
                <a:cxn ang="0">
                  <a:pos x="29" y="66"/>
                </a:cxn>
              </a:cxnLst>
              <a:rect l="0" t="0" r="r" b="b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7" name="Freeform 24"/>
            <p:cNvSpPr>
              <a:spLocks noEditPoints="1"/>
            </p:cNvSpPr>
            <p:nvPr/>
          </p:nvSpPr>
          <p:spPr bwMode="auto">
            <a:xfrm rot="21439583">
              <a:off x="3976640" y="4919448"/>
              <a:ext cx="296033" cy="664125"/>
            </a:xfrm>
            <a:custGeom>
              <a:avLst/>
              <a:gdLst/>
              <a:ahLst/>
              <a:cxnLst>
                <a:cxn ang="0">
                  <a:pos x="45" y="7"/>
                </a:cxn>
                <a:cxn ang="0">
                  <a:pos x="49" y="13"/>
                </a:cxn>
                <a:cxn ang="0">
                  <a:pos x="51" y="21"/>
                </a:cxn>
                <a:cxn ang="0">
                  <a:pos x="52" y="30"/>
                </a:cxn>
                <a:cxn ang="0">
                  <a:pos x="45" y="33"/>
                </a:cxn>
                <a:cxn ang="0">
                  <a:pos x="38" y="43"/>
                </a:cxn>
                <a:cxn ang="0">
                  <a:pos x="35" y="53"/>
                </a:cxn>
                <a:cxn ang="0">
                  <a:pos x="37" y="64"/>
                </a:cxn>
                <a:cxn ang="0">
                  <a:pos x="43" y="74"/>
                </a:cxn>
                <a:cxn ang="0">
                  <a:pos x="45" y="84"/>
                </a:cxn>
                <a:cxn ang="0">
                  <a:pos x="39" y="97"/>
                </a:cxn>
                <a:cxn ang="0">
                  <a:pos x="33" y="105"/>
                </a:cxn>
                <a:cxn ang="0">
                  <a:pos x="28" y="113"/>
                </a:cxn>
                <a:cxn ang="0">
                  <a:pos x="38" y="124"/>
                </a:cxn>
                <a:cxn ang="0">
                  <a:pos x="38" y="139"/>
                </a:cxn>
                <a:cxn ang="0">
                  <a:pos x="35" y="139"/>
                </a:cxn>
                <a:cxn ang="0">
                  <a:pos x="29" y="139"/>
                </a:cxn>
                <a:cxn ang="0">
                  <a:pos x="24" y="136"/>
                </a:cxn>
                <a:cxn ang="0">
                  <a:pos x="25" y="124"/>
                </a:cxn>
                <a:cxn ang="0">
                  <a:pos x="16" y="122"/>
                </a:cxn>
                <a:cxn ang="0">
                  <a:pos x="5" y="124"/>
                </a:cxn>
                <a:cxn ang="0">
                  <a:pos x="5" y="122"/>
                </a:cxn>
                <a:cxn ang="0">
                  <a:pos x="1" y="115"/>
                </a:cxn>
                <a:cxn ang="0">
                  <a:pos x="8" y="110"/>
                </a:cxn>
                <a:cxn ang="0">
                  <a:pos x="13" y="102"/>
                </a:cxn>
                <a:cxn ang="0">
                  <a:pos x="9" y="95"/>
                </a:cxn>
                <a:cxn ang="0">
                  <a:pos x="4" y="90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4" y="83"/>
                </a:cxn>
                <a:cxn ang="0">
                  <a:pos x="3" y="71"/>
                </a:cxn>
                <a:cxn ang="0">
                  <a:pos x="4" y="64"/>
                </a:cxn>
                <a:cxn ang="0">
                  <a:pos x="7" y="57"/>
                </a:cxn>
                <a:cxn ang="0">
                  <a:pos x="8" y="41"/>
                </a:cxn>
                <a:cxn ang="0">
                  <a:pos x="13" y="38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6" y="2"/>
                </a:cxn>
                <a:cxn ang="0">
                  <a:pos x="22" y="2"/>
                </a:cxn>
                <a:cxn ang="0">
                  <a:pos x="26" y="11"/>
                </a:cxn>
                <a:cxn ang="0">
                  <a:pos x="38" y="10"/>
                </a:cxn>
                <a:cxn ang="0">
                  <a:pos x="45" y="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5" y="124"/>
                </a:cxn>
                <a:cxn ang="0">
                  <a:pos x="6" y="127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41"/>
                </a:cxn>
              </a:cxnLst>
              <a:rect l="0" t="0" r="r" b="b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lnTo>
                    <a:pt x="2" y="84"/>
                  </a:ln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8" name="Freeform 25"/>
            <p:cNvSpPr>
              <a:spLocks noEditPoints="1"/>
            </p:cNvSpPr>
            <p:nvPr/>
          </p:nvSpPr>
          <p:spPr bwMode="auto">
            <a:xfrm rot="21439583">
              <a:off x="4380244" y="5896375"/>
              <a:ext cx="786088" cy="556842"/>
            </a:xfrm>
            <a:custGeom>
              <a:avLst/>
              <a:gdLst/>
              <a:ahLst/>
              <a:cxnLst>
                <a:cxn ang="0">
                  <a:pos x="141" y="53"/>
                </a:cxn>
                <a:cxn ang="0">
                  <a:pos x="131" y="59"/>
                </a:cxn>
                <a:cxn ang="0">
                  <a:pos x="128" y="68"/>
                </a:cxn>
                <a:cxn ang="0">
                  <a:pos x="125" y="78"/>
                </a:cxn>
                <a:cxn ang="0">
                  <a:pos x="117" y="88"/>
                </a:cxn>
                <a:cxn ang="0">
                  <a:pos x="114" y="96"/>
                </a:cxn>
                <a:cxn ang="0">
                  <a:pos x="104" y="105"/>
                </a:cxn>
                <a:cxn ang="0">
                  <a:pos x="91" y="114"/>
                </a:cxn>
                <a:cxn ang="0">
                  <a:pos x="89" y="115"/>
                </a:cxn>
                <a:cxn ang="0">
                  <a:pos x="17" y="108"/>
                </a:cxn>
                <a:cxn ang="0">
                  <a:pos x="20" y="109"/>
                </a:cxn>
                <a:cxn ang="0">
                  <a:pos x="18" y="97"/>
                </a:cxn>
                <a:cxn ang="0">
                  <a:pos x="25" y="94"/>
                </a:cxn>
                <a:cxn ang="0">
                  <a:pos x="27" y="81"/>
                </a:cxn>
                <a:cxn ang="0">
                  <a:pos x="18" y="76"/>
                </a:cxn>
                <a:cxn ang="0">
                  <a:pos x="16" y="68"/>
                </a:cxn>
                <a:cxn ang="0">
                  <a:pos x="8" y="65"/>
                </a:cxn>
                <a:cxn ang="0">
                  <a:pos x="4" y="60"/>
                </a:cxn>
                <a:cxn ang="0">
                  <a:pos x="19" y="56"/>
                </a:cxn>
                <a:cxn ang="0">
                  <a:pos x="4" y="40"/>
                </a:cxn>
                <a:cxn ang="0">
                  <a:pos x="6" y="33"/>
                </a:cxn>
                <a:cxn ang="0">
                  <a:pos x="11" y="27"/>
                </a:cxn>
                <a:cxn ang="0">
                  <a:pos x="12" y="9"/>
                </a:cxn>
                <a:cxn ang="0">
                  <a:pos x="18" y="2"/>
                </a:cxn>
                <a:cxn ang="0">
                  <a:pos x="39" y="1"/>
                </a:cxn>
                <a:cxn ang="0">
                  <a:pos x="40" y="6"/>
                </a:cxn>
                <a:cxn ang="0">
                  <a:pos x="34" y="11"/>
                </a:cxn>
                <a:cxn ang="0">
                  <a:pos x="35" y="20"/>
                </a:cxn>
                <a:cxn ang="0">
                  <a:pos x="41" y="20"/>
                </a:cxn>
                <a:cxn ang="0">
                  <a:pos x="45" y="26"/>
                </a:cxn>
                <a:cxn ang="0">
                  <a:pos x="44" y="32"/>
                </a:cxn>
                <a:cxn ang="0">
                  <a:pos x="53" y="45"/>
                </a:cxn>
                <a:cxn ang="0">
                  <a:pos x="59" y="51"/>
                </a:cxn>
                <a:cxn ang="0">
                  <a:pos x="63" y="57"/>
                </a:cxn>
                <a:cxn ang="0">
                  <a:pos x="71" y="58"/>
                </a:cxn>
                <a:cxn ang="0">
                  <a:pos x="79" y="51"/>
                </a:cxn>
                <a:cxn ang="0">
                  <a:pos x="80" y="44"/>
                </a:cxn>
                <a:cxn ang="0">
                  <a:pos x="86" y="39"/>
                </a:cxn>
                <a:cxn ang="0">
                  <a:pos x="91" y="43"/>
                </a:cxn>
                <a:cxn ang="0">
                  <a:pos x="107" y="40"/>
                </a:cxn>
                <a:cxn ang="0">
                  <a:pos x="111" y="47"/>
                </a:cxn>
                <a:cxn ang="0">
                  <a:pos x="118" y="56"/>
                </a:cxn>
                <a:cxn ang="0">
                  <a:pos x="128" y="53"/>
                </a:cxn>
                <a:cxn ang="0">
                  <a:pos x="141" y="53"/>
                </a:cxn>
                <a:cxn ang="0">
                  <a:pos x="1" y="62"/>
                </a:cxn>
                <a:cxn ang="0">
                  <a:pos x="1" y="62"/>
                </a:cxn>
              </a:cxnLst>
              <a:rect l="0" t="0" r="r" b="b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9" name="Freeform 26"/>
            <p:cNvSpPr>
              <a:spLocks noEditPoints="1"/>
            </p:cNvSpPr>
            <p:nvPr/>
          </p:nvSpPr>
          <p:spPr bwMode="auto">
            <a:xfrm rot="21439583">
              <a:off x="4440373" y="3717130"/>
              <a:ext cx="854096" cy="1064302"/>
            </a:xfrm>
            <a:custGeom>
              <a:avLst/>
              <a:gdLst/>
              <a:ahLst/>
              <a:cxnLst>
                <a:cxn ang="0">
                  <a:pos x="151" y="126"/>
                </a:cxn>
                <a:cxn ang="0">
                  <a:pos x="149" y="137"/>
                </a:cxn>
                <a:cxn ang="0">
                  <a:pos x="140" y="167"/>
                </a:cxn>
                <a:cxn ang="0">
                  <a:pos x="136" y="192"/>
                </a:cxn>
                <a:cxn ang="0">
                  <a:pos x="128" y="209"/>
                </a:cxn>
                <a:cxn ang="0">
                  <a:pos x="95" y="211"/>
                </a:cxn>
                <a:cxn ang="0">
                  <a:pos x="78" y="220"/>
                </a:cxn>
                <a:cxn ang="0">
                  <a:pos x="65" y="215"/>
                </a:cxn>
                <a:cxn ang="0">
                  <a:pos x="55" y="219"/>
                </a:cxn>
                <a:cxn ang="0">
                  <a:pos x="41" y="216"/>
                </a:cxn>
                <a:cxn ang="0">
                  <a:pos x="41" y="201"/>
                </a:cxn>
                <a:cxn ang="0">
                  <a:pos x="39" y="184"/>
                </a:cxn>
                <a:cxn ang="0">
                  <a:pos x="37" y="170"/>
                </a:cxn>
                <a:cxn ang="0">
                  <a:pos x="27" y="153"/>
                </a:cxn>
                <a:cxn ang="0">
                  <a:pos x="26" y="129"/>
                </a:cxn>
                <a:cxn ang="0">
                  <a:pos x="17" y="111"/>
                </a:cxn>
                <a:cxn ang="0">
                  <a:pos x="18" y="89"/>
                </a:cxn>
                <a:cxn ang="0">
                  <a:pos x="14" y="7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19" y="50"/>
                </a:cxn>
                <a:cxn ang="0">
                  <a:pos x="32" y="32"/>
                </a:cxn>
                <a:cxn ang="0">
                  <a:pos x="33" y="41"/>
                </a:cxn>
                <a:cxn ang="0">
                  <a:pos x="48" y="51"/>
                </a:cxn>
                <a:cxn ang="0">
                  <a:pos x="63" y="51"/>
                </a:cxn>
                <a:cxn ang="0">
                  <a:pos x="72" y="18"/>
                </a:cxn>
                <a:cxn ang="0">
                  <a:pos x="94" y="11"/>
                </a:cxn>
                <a:cxn ang="0">
                  <a:pos x="124" y="3"/>
                </a:cxn>
                <a:cxn ang="0">
                  <a:pos x="130" y="3"/>
                </a:cxn>
                <a:cxn ang="0">
                  <a:pos x="143" y="30"/>
                </a:cxn>
                <a:cxn ang="0">
                  <a:pos x="146" y="48"/>
                </a:cxn>
                <a:cxn ang="0">
                  <a:pos x="137" y="59"/>
                </a:cxn>
                <a:cxn ang="0">
                  <a:pos x="140" y="84"/>
                </a:cxn>
                <a:cxn ang="0">
                  <a:pos x="134" y="101"/>
                </a:cxn>
                <a:cxn ang="0">
                  <a:pos x="133" y="123"/>
                </a:cxn>
                <a:cxn ang="0">
                  <a:pos x="130" y="3"/>
                </a:cxn>
                <a:cxn ang="0">
                  <a:pos x="130" y="3"/>
                </a:cxn>
                <a:cxn ang="0">
                  <a:pos x="130" y="1"/>
                </a:cxn>
                <a:cxn ang="0">
                  <a:pos x="130" y="1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28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2" y="46"/>
                </a:cxn>
              </a:cxnLst>
              <a:rect l="0" t="0" r="r" b="b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lnTo>
                    <a:pt x="41" y="216"/>
                  </a:ln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lnTo>
                    <a:pt x="8" y="48"/>
                  </a:ln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lnTo>
                    <a:pt x="130" y="3"/>
                  </a:ln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0" name="Freeform 27"/>
            <p:cNvSpPr>
              <a:spLocks noEditPoints="1"/>
            </p:cNvSpPr>
            <p:nvPr/>
          </p:nvSpPr>
          <p:spPr bwMode="auto">
            <a:xfrm rot="21439583">
              <a:off x="4121880" y="4514989"/>
              <a:ext cx="620069" cy="1168178"/>
            </a:xfrm>
            <a:custGeom>
              <a:avLst/>
              <a:gdLst/>
              <a:ahLst/>
              <a:cxnLst>
                <a:cxn ang="0">
                  <a:pos x="29" y="37"/>
                </a:cxn>
                <a:cxn ang="0">
                  <a:pos x="29" y="57"/>
                </a:cxn>
                <a:cxn ang="0">
                  <a:pos x="29" y="84"/>
                </a:cxn>
                <a:cxn ang="0">
                  <a:pos x="22" y="95"/>
                </a:cxn>
                <a:cxn ang="0">
                  <a:pos x="25" y="112"/>
                </a:cxn>
                <a:cxn ang="0">
                  <a:pos x="11" y="125"/>
                </a:cxn>
                <a:cxn ang="0">
                  <a:pos x="10" y="146"/>
                </a:cxn>
                <a:cxn ang="0">
                  <a:pos x="18" y="166"/>
                </a:cxn>
                <a:cxn ang="0">
                  <a:pos x="6" y="187"/>
                </a:cxn>
                <a:cxn ang="0">
                  <a:pos x="11" y="206"/>
                </a:cxn>
                <a:cxn ang="0">
                  <a:pos x="17" y="223"/>
                </a:cxn>
                <a:cxn ang="0">
                  <a:pos x="21" y="239"/>
                </a:cxn>
                <a:cxn ang="0">
                  <a:pos x="30" y="236"/>
                </a:cxn>
                <a:cxn ang="0">
                  <a:pos x="45" y="226"/>
                </a:cxn>
                <a:cxn ang="0">
                  <a:pos x="60" y="215"/>
                </a:cxn>
                <a:cxn ang="0">
                  <a:pos x="69" y="204"/>
                </a:cxn>
                <a:cxn ang="0">
                  <a:pos x="68" y="195"/>
                </a:cxn>
                <a:cxn ang="0">
                  <a:pos x="57" y="176"/>
                </a:cxn>
                <a:cxn ang="0">
                  <a:pos x="60" y="153"/>
                </a:cxn>
                <a:cxn ang="0">
                  <a:pos x="58" y="127"/>
                </a:cxn>
                <a:cxn ang="0">
                  <a:pos x="76" y="116"/>
                </a:cxn>
                <a:cxn ang="0">
                  <a:pos x="76" y="100"/>
                </a:cxn>
                <a:cxn ang="0">
                  <a:pos x="95" y="96"/>
                </a:cxn>
                <a:cxn ang="0">
                  <a:pos x="109" y="85"/>
                </a:cxn>
                <a:cxn ang="0">
                  <a:pos x="109" y="58"/>
                </a:cxn>
                <a:cxn ang="0">
                  <a:pos x="102" y="47"/>
                </a:cxn>
                <a:cxn ang="0">
                  <a:pos x="92" y="39"/>
                </a:cxn>
                <a:cxn ang="0">
                  <a:pos x="89" y="30"/>
                </a:cxn>
                <a:cxn ang="0">
                  <a:pos x="81" y="13"/>
                </a:cxn>
                <a:cxn ang="0">
                  <a:pos x="72" y="18"/>
                </a:cxn>
                <a:cxn ang="0">
                  <a:pos x="50" y="21"/>
                </a:cxn>
                <a:cxn ang="0">
                  <a:pos x="34" y="1"/>
                </a:cxn>
                <a:cxn ang="0">
                  <a:pos x="18" y="8"/>
                </a:cxn>
                <a:cxn ang="0">
                  <a:pos x="11" y="221"/>
                </a:cxn>
              </a:cxnLst>
              <a:rect l="0" t="0" r="r" b="b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1" name="Freeform 29"/>
            <p:cNvSpPr>
              <a:spLocks noEditPoints="1"/>
            </p:cNvSpPr>
            <p:nvPr/>
          </p:nvSpPr>
          <p:spPr bwMode="auto">
            <a:xfrm rot="21439583">
              <a:off x="4791548" y="5206509"/>
              <a:ext cx="1122126" cy="941695"/>
            </a:xfrm>
            <a:custGeom>
              <a:avLst/>
              <a:gdLst/>
              <a:ahLst/>
              <a:cxnLst>
                <a:cxn ang="0">
                  <a:pos x="178" y="1"/>
                </a:cxn>
                <a:cxn ang="0">
                  <a:pos x="197" y="22"/>
                </a:cxn>
                <a:cxn ang="0">
                  <a:pos x="183" y="36"/>
                </a:cxn>
                <a:cxn ang="0">
                  <a:pos x="178" y="55"/>
                </a:cxn>
                <a:cxn ang="0">
                  <a:pos x="170" y="69"/>
                </a:cxn>
                <a:cxn ang="0">
                  <a:pos x="159" y="90"/>
                </a:cxn>
                <a:cxn ang="0">
                  <a:pos x="152" y="106"/>
                </a:cxn>
                <a:cxn ang="0">
                  <a:pos x="145" y="123"/>
                </a:cxn>
                <a:cxn ang="0">
                  <a:pos x="129" y="138"/>
                </a:cxn>
                <a:cxn ang="0">
                  <a:pos x="104" y="164"/>
                </a:cxn>
                <a:cxn ang="0">
                  <a:pos x="82" y="180"/>
                </a:cxn>
                <a:cxn ang="0">
                  <a:pos x="73" y="185"/>
                </a:cxn>
                <a:cxn ang="0">
                  <a:pos x="63" y="193"/>
                </a:cxn>
                <a:cxn ang="0">
                  <a:pos x="62" y="193"/>
                </a:cxn>
                <a:cxn ang="0">
                  <a:pos x="39" y="196"/>
                </a:cxn>
                <a:cxn ang="0">
                  <a:pos x="28" y="180"/>
                </a:cxn>
                <a:cxn ang="0">
                  <a:pos x="7" y="179"/>
                </a:cxn>
                <a:cxn ang="0">
                  <a:pos x="18" y="174"/>
                </a:cxn>
                <a:cxn ang="0">
                  <a:pos x="27" y="162"/>
                </a:cxn>
                <a:cxn ang="0">
                  <a:pos x="31" y="145"/>
                </a:cxn>
                <a:cxn ang="0">
                  <a:pos x="41" y="130"/>
                </a:cxn>
                <a:cxn ang="0">
                  <a:pos x="52" y="121"/>
                </a:cxn>
                <a:cxn ang="0">
                  <a:pos x="65" y="114"/>
                </a:cxn>
                <a:cxn ang="0">
                  <a:pos x="78" y="110"/>
                </a:cxn>
                <a:cxn ang="0">
                  <a:pos x="95" y="104"/>
                </a:cxn>
                <a:cxn ang="0">
                  <a:pos x="106" y="112"/>
                </a:cxn>
                <a:cxn ang="0">
                  <a:pos x="111" y="100"/>
                </a:cxn>
                <a:cxn ang="0">
                  <a:pos x="116" y="85"/>
                </a:cxn>
                <a:cxn ang="0">
                  <a:pos x="129" y="72"/>
                </a:cxn>
                <a:cxn ang="0">
                  <a:pos x="143" y="57"/>
                </a:cxn>
                <a:cxn ang="0">
                  <a:pos x="153" y="47"/>
                </a:cxn>
                <a:cxn ang="0">
                  <a:pos x="157" y="31"/>
                </a:cxn>
                <a:cxn ang="0">
                  <a:pos x="167" y="14"/>
                </a:cxn>
                <a:cxn ang="0">
                  <a:pos x="177" y="0"/>
                </a:cxn>
                <a:cxn ang="0">
                  <a:pos x="55" y="197"/>
                </a:cxn>
                <a:cxn ang="0">
                  <a:pos x="55" y="197"/>
                </a:cxn>
                <a:cxn ang="0">
                  <a:pos x="55" y="197"/>
                </a:cxn>
              </a:cxnLst>
              <a:rect l="0" t="0" r="r" b="b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auto">
            <a:xfrm rot="21439583">
              <a:off x="3883639" y="5462975"/>
              <a:ext cx="1216136" cy="727131"/>
            </a:xfrm>
            <a:custGeom>
              <a:avLst/>
              <a:gdLst/>
              <a:ahLst/>
              <a:cxnLst>
                <a:cxn ang="0">
                  <a:pos x="97" y="121"/>
                </a:cxn>
                <a:cxn ang="0">
                  <a:pos x="104" y="96"/>
                </a:cxn>
                <a:cxn ang="0">
                  <a:pos x="126" y="100"/>
                </a:cxn>
                <a:cxn ang="0">
                  <a:pos x="121" y="114"/>
                </a:cxn>
                <a:cxn ang="0">
                  <a:pos x="131" y="120"/>
                </a:cxn>
                <a:cxn ang="0">
                  <a:pos x="139" y="139"/>
                </a:cxn>
                <a:cxn ang="0">
                  <a:pos x="149" y="151"/>
                </a:cxn>
                <a:cxn ang="0">
                  <a:pos x="165" y="145"/>
                </a:cxn>
                <a:cxn ang="0">
                  <a:pos x="175" y="130"/>
                </a:cxn>
                <a:cxn ang="0">
                  <a:pos x="185" y="121"/>
                </a:cxn>
                <a:cxn ang="0">
                  <a:pos x="196" y="104"/>
                </a:cxn>
                <a:cxn ang="0">
                  <a:pos x="202" y="96"/>
                </a:cxn>
                <a:cxn ang="0">
                  <a:pos x="216" y="83"/>
                </a:cxn>
                <a:cxn ang="0">
                  <a:pos x="209" y="70"/>
                </a:cxn>
                <a:cxn ang="0">
                  <a:pos x="205" y="60"/>
                </a:cxn>
                <a:cxn ang="0">
                  <a:pos x="196" y="63"/>
                </a:cxn>
                <a:cxn ang="0">
                  <a:pos x="198" y="50"/>
                </a:cxn>
                <a:cxn ang="0">
                  <a:pos x="189" y="43"/>
                </a:cxn>
                <a:cxn ang="0">
                  <a:pos x="190" y="53"/>
                </a:cxn>
                <a:cxn ang="0">
                  <a:pos x="184" y="63"/>
                </a:cxn>
                <a:cxn ang="0">
                  <a:pos x="170" y="56"/>
                </a:cxn>
                <a:cxn ang="0">
                  <a:pos x="157" y="63"/>
                </a:cxn>
                <a:cxn ang="0">
                  <a:pos x="142" y="53"/>
                </a:cxn>
                <a:cxn ang="0">
                  <a:pos x="125" y="38"/>
                </a:cxn>
                <a:cxn ang="0">
                  <a:pos x="117" y="3"/>
                </a:cxn>
                <a:cxn ang="0">
                  <a:pos x="108" y="14"/>
                </a:cxn>
                <a:cxn ang="0">
                  <a:pos x="93" y="25"/>
                </a:cxn>
                <a:cxn ang="0">
                  <a:pos x="78" y="35"/>
                </a:cxn>
                <a:cxn ang="0">
                  <a:pos x="69" y="38"/>
                </a:cxn>
                <a:cxn ang="0">
                  <a:pos x="65" y="22"/>
                </a:cxn>
                <a:cxn ang="0">
                  <a:pos x="50" y="20"/>
                </a:cxn>
                <a:cxn ang="0">
                  <a:pos x="46" y="5"/>
                </a:cxn>
                <a:cxn ang="0">
                  <a:pos x="26" y="5"/>
                </a:cxn>
                <a:cxn ang="0">
                  <a:pos x="23" y="18"/>
                </a:cxn>
                <a:cxn ang="0">
                  <a:pos x="15" y="18"/>
                </a:cxn>
                <a:cxn ang="0">
                  <a:pos x="26" y="27"/>
                </a:cxn>
                <a:cxn ang="0">
                  <a:pos x="24" y="35"/>
                </a:cxn>
                <a:cxn ang="0">
                  <a:pos x="33" y="40"/>
                </a:cxn>
                <a:cxn ang="0">
                  <a:pos x="32" y="54"/>
                </a:cxn>
                <a:cxn ang="0">
                  <a:pos x="25" y="64"/>
                </a:cxn>
                <a:cxn ang="0">
                  <a:pos x="16" y="67"/>
                </a:cxn>
                <a:cxn ang="0">
                  <a:pos x="5" y="77"/>
                </a:cxn>
                <a:cxn ang="0">
                  <a:pos x="23" y="93"/>
                </a:cxn>
                <a:cxn ang="0">
                  <a:pos x="40" y="83"/>
                </a:cxn>
                <a:cxn ang="0">
                  <a:pos x="53" y="76"/>
                </a:cxn>
                <a:cxn ang="0">
                  <a:pos x="70" y="67"/>
                </a:cxn>
                <a:cxn ang="0">
                  <a:pos x="67" y="78"/>
                </a:cxn>
                <a:cxn ang="0">
                  <a:pos x="77" y="99"/>
                </a:cxn>
                <a:cxn ang="0">
                  <a:pos x="85" y="115"/>
                </a:cxn>
                <a:cxn ang="0">
                  <a:pos x="91" y="123"/>
                </a:cxn>
                <a:cxn ang="0">
                  <a:pos x="70" y="99"/>
                </a:cxn>
                <a:cxn ang="0">
                  <a:pos x="70" y="99"/>
                </a:cxn>
                <a:cxn ang="0">
                  <a:pos x="70" y="99"/>
                </a:cxn>
              </a:cxnLst>
              <a:rect l="0" t="0" r="r" b="b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3" name="Freeform 39"/>
            <p:cNvSpPr>
              <a:spLocks/>
            </p:cNvSpPr>
            <p:nvPr/>
          </p:nvSpPr>
          <p:spPr bwMode="auto">
            <a:xfrm rot="21439583">
              <a:off x="2304712" y="3906331"/>
              <a:ext cx="814091" cy="1311220"/>
            </a:xfrm>
            <a:custGeom>
              <a:avLst/>
              <a:gdLst/>
              <a:ahLst/>
              <a:cxnLst>
                <a:cxn ang="0">
                  <a:pos x="4" y="241"/>
                </a:cxn>
                <a:cxn ang="0">
                  <a:pos x="4" y="232"/>
                </a:cxn>
                <a:cxn ang="0">
                  <a:pos x="9" y="217"/>
                </a:cxn>
                <a:cxn ang="0">
                  <a:pos x="21" y="213"/>
                </a:cxn>
                <a:cxn ang="0">
                  <a:pos x="19" y="193"/>
                </a:cxn>
                <a:cxn ang="0">
                  <a:pos x="15" y="176"/>
                </a:cxn>
                <a:cxn ang="0">
                  <a:pos x="31" y="167"/>
                </a:cxn>
                <a:cxn ang="0">
                  <a:pos x="37" y="152"/>
                </a:cxn>
                <a:cxn ang="0">
                  <a:pos x="45" y="143"/>
                </a:cxn>
                <a:cxn ang="0">
                  <a:pos x="56" y="148"/>
                </a:cxn>
                <a:cxn ang="0">
                  <a:pos x="64" y="137"/>
                </a:cxn>
                <a:cxn ang="0">
                  <a:pos x="72" y="124"/>
                </a:cxn>
                <a:cxn ang="0">
                  <a:pos x="80" y="116"/>
                </a:cxn>
                <a:cxn ang="0">
                  <a:pos x="79" y="98"/>
                </a:cxn>
                <a:cxn ang="0">
                  <a:pos x="71" y="87"/>
                </a:cxn>
                <a:cxn ang="0">
                  <a:pos x="65" y="79"/>
                </a:cxn>
                <a:cxn ang="0">
                  <a:pos x="75" y="73"/>
                </a:cxn>
                <a:cxn ang="0">
                  <a:pos x="60" y="63"/>
                </a:cxn>
                <a:cxn ang="0">
                  <a:pos x="77" y="40"/>
                </a:cxn>
                <a:cxn ang="0">
                  <a:pos x="90" y="18"/>
                </a:cxn>
                <a:cxn ang="0">
                  <a:pos x="101" y="1"/>
                </a:cxn>
                <a:cxn ang="0">
                  <a:pos x="121" y="5"/>
                </a:cxn>
                <a:cxn ang="0">
                  <a:pos x="138" y="12"/>
                </a:cxn>
                <a:cxn ang="0">
                  <a:pos x="145" y="26"/>
                </a:cxn>
                <a:cxn ang="0">
                  <a:pos x="139" y="53"/>
                </a:cxn>
                <a:cxn ang="0">
                  <a:pos x="135" y="70"/>
                </a:cxn>
                <a:cxn ang="0">
                  <a:pos x="126" y="85"/>
                </a:cxn>
                <a:cxn ang="0">
                  <a:pos x="123" y="104"/>
                </a:cxn>
                <a:cxn ang="0">
                  <a:pos x="120" y="127"/>
                </a:cxn>
                <a:cxn ang="0">
                  <a:pos x="122" y="144"/>
                </a:cxn>
                <a:cxn ang="0">
                  <a:pos x="126" y="160"/>
                </a:cxn>
                <a:cxn ang="0">
                  <a:pos x="126" y="171"/>
                </a:cxn>
                <a:cxn ang="0">
                  <a:pos x="116" y="173"/>
                </a:cxn>
                <a:cxn ang="0">
                  <a:pos x="107" y="175"/>
                </a:cxn>
                <a:cxn ang="0">
                  <a:pos x="94" y="194"/>
                </a:cxn>
                <a:cxn ang="0">
                  <a:pos x="84" y="203"/>
                </a:cxn>
                <a:cxn ang="0">
                  <a:pos x="94" y="217"/>
                </a:cxn>
                <a:cxn ang="0">
                  <a:pos x="98" y="238"/>
                </a:cxn>
                <a:cxn ang="0">
                  <a:pos x="86" y="243"/>
                </a:cxn>
                <a:cxn ang="0">
                  <a:pos x="70" y="232"/>
                </a:cxn>
                <a:cxn ang="0">
                  <a:pos x="75" y="250"/>
                </a:cxn>
                <a:cxn ang="0">
                  <a:pos x="82" y="272"/>
                </a:cxn>
                <a:cxn ang="0">
                  <a:pos x="68" y="270"/>
                </a:cxn>
                <a:cxn ang="0">
                  <a:pos x="56" y="273"/>
                </a:cxn>
                <a:cxn ang="0">
                  <a:pos x="54" y="257"/>
                </a:cxn>
                <a:cxn ang="0">
                  <a:pos x="36" y="255"/>
                </a:cxn>
                <a:cxn ang="0">
                  <a:pos x="26" y="247"/>
                </a:cxn>
                <a:cxn ang="0">
                  <a:pos x="15" y="240"/>
                </a:cxn>
              </a:cxnLst>
              <a:rect l="0" t="0" r="r" b="b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4" name="Freeform 11"/>
            <p:cNvSpPr>
              <a:spLocks/>
            </p:cNvSpPr>
            <p:nvPr/>
          </p:nvSpPr>
          <p:spPr bwMode="auto">
            <a:xfrm rot="21439583">
              <a:off x="4449147" y="1136389"/>
              <a:ext cx="1462164" cy="2828490"/>
            </a:xfrm>
            <a:custGeom>
              <a:avLst/>
              <a:gdLst/>
              <a:ahLst/>
              <a:cxnLst>
                <a:cxn ang="0">
                  <a:pos x="29" y="581"/>
                </a:cxn>
                <a:cxn ang="0">
                  <a:pos x="45" y="592"/>
                </a:cxn>
                <a:cxn ang="0">
                  <a:pos x="64" y="557"/>
                </a:cxn>
                <a:cxn ang="0">
                  <a:pos x="106" y="544"/>
                </a:cxn>
                <a:cxn ang="0">
                  <a:pos x="128" y="538"/>
                </a:cxn>
                <a:cxn ang="0">
                  <a:pos x="134" y="509"/>
                </a:cxn>
                <a:cxn ang="0">
                  <a:pos x="157" y="494"/>
                </a:cxn>
                <a:cxn ang="0">
                  <a:pos x="169" y="522"/>
                </a:cxn>
                <a:cxn ang="0">
                  <a:pos x="184" y="518"/>
                </a:cxn>
                <a:cxn ang="0">
                  <a:pos x="194" y="491"/>
                </a:cxn>
                <a:cxn ang="0">
                  <a:pos x="221" y="472"/>
                </a:cxn>
                <a:cxn ang="0">
                  <a:pos x="224" y="444"/>
                </a:cxn>
                <a:cxn ang="0">
                  <a:pos x="222" y="413"/>
                </a:cxn>
                <a:cxn ang="0">
                  <a:pos x="231" y="389"/>
                </a:cxn>
                <a:cxn ang="0">
                  <a:pos x="237" y="352"/>
                </a:cxn>
                <a:cxn ang="0">
                  <a:pos x="246" y="319"/>
                </a:cxn>
                <a:cxn ang="0">
                  <a:pos x="257" y="289"/>
                </a:cxn>
                <a:cxn ang="0">
                  <a:pos x="255" y="268"/>
                </a:cxn>
                <a:cxn ang="0">
                  <a:pos x="242" y="265"/>
                </a:cxn>
                <a:cxn ang="0">
                  <a:pos x="228" y="243"/>
                </a:cxn>
                <a:cxn ang="0">
                  <a:pos x="215" y="218"/>
                </a:cxn>
                <a:cxn ang="0">
                  <a:pos x="222" y="199"/>
                </a:cxn>
                <a:cxn ang="0">
                  <a:pos x="229" y="170"/>
                </a:cxn>
                <a:cxn ang="0">
                  <a:pos x="213" y="167"/>
                </a:cxn>
                <a:cxn ang="0">
                  <a:pos x="201" y="146"/>
                </a:cxn>
                <a:cxn ang="0">
                  <a:pos x="211" y="131"/>
                </a:cxn>
                <a:cxn ang="0">
                  <a:pos x="203" y="103"/>
                </a:cxn>
                <a:cxn ang="0">
                  <a:pos x="192" y="74"/>
                </a:cxn>
                <a:cxn ang="0">
                  <a:pos x="149" y="62"/>
                </a:cxn>
                <a:cxn ang="0">
                  <a:pos x="157" y="42"/>
                </a:cxn>
                <a:cxn ang="0">
                  <a:pos x="166" y="31"/>
                </a:cxn>
                <a:cxn ang="0">
                  <a:pos x="159" y="7"/>
                </a:cxn>
                <a:cxn ang="0">
                  <a:pos x="147" y="14"/>
                </a:cxn>
                <a:cxn ang="0">
                  <a:pos x="126" y="30"/>
                </a:cxn>
                <a:cxn ang="0">
                  <a:pos x="107" y="40"/>
                </a:cxn>
                <a:cxn ang="0">
                  <a:pos x="89" y="45"/>
                </a:cxn>
                <a:cxn ang="0">
                  <a:pos x="86" y="76"/>
                </a:cxn>
                <a:cxn ang="0">
                  <a:pos x="82" y="90"/>
                </a:cxn>
                <a:cxn ang="0">
                  <a:pos x="70" y="123"/>
                </a:cxn>
                <a:cxn ang="0">
                  <a:pos x="83" y="144"/>
                </a:cxn>
                <a:cxn ang="0">
                  <a:pos x="98" y="163"/>
                </a:cxn>
                <a:cxn ang="0">
                  <a:pos x="79" y="204"/>
                </a:cxn>
                <a:cxn ang="0">
                  <a:pos x="65" y="220"/>
                </a:cxn>
                <a:cxn ang="0">
                  <a:pos x="64" y="239"/>
                </a:cxn>
                <a:cxn ang="0">
                  <a:pos x="38" y="248"/>
                </a:cxn>
                <a:cxn ang="0">
                  <a:pos x="15" y="263"/>
                </a:cxn>
                <a:cxn ang="0">
                  <a:pos x="18" y="289"/>
                </a:cxn>
                <a:cxn ang="0">
                  <a:pos x="0" y="315"/>
                </a:cxn>
                <a:cxn ang="0">
                  <a:pos x="6" y="346"/>
                </a:cxn>
                <a:cxn ang="0">
                  <a:pos x="45" y="368"/>
                </a:cxn>
                <a:cxn ang="0">
                  <a:pos x="40" y="392"/>
                </a:cxn>
                <a:cxn ang="0">
                  <a:pos x="22" y="405"/>
                </a:cxn>
                <a:cxn ang="0">
                  <a:pos x="33" y="433"/>
                </a:cxn>
                <a:cxn ang="0">
                  <a:pos x="36" y="468"/>
                </a:cxn>
                <a:cxn ang="0">
                  <a:pos x="16" y="493"/>
                </a:cxn>
                <a:cxn ang="0">
                  <a:pos x="5" y="508"/>
                </a:cxn>
                <a:cxn ang="0">
                  <a:pos x="13" y="523"/>
                </a:cxn>
                <a:cxn ang="0">
                  <a:pos x="9" y="554"/>
                </a:cxn>
                <a:cxn ang="0">
                  <a:pos x="8" y="572"/>
                </a:cxn>
              </a:cxnLst>
              <a:rect l="0" t="0" r="r" b="b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8" name="Freeform 31"/>
            <p:cNvSpPr>
              <a:spLocks noEditPoints="1"/>
            </p:cNvSpPr>
            <p:nvPr/>
          </p:nvSpPr>
          <p:spPr bwMode="auto">
            <a:xfrm rot="21439583">
              <a:off x="4403944" y="4657553"/>
              <a:ext cx="832093" cy="926369"/>
            </a:xfrm>
            <a:custGeom>
              <a:avLst/>
              <a:gdLst/>
              <a:ahLst/>
              <a:cxnLst>
                <a:cxn ang="0">
                  <a:pos x="69" y="21"/>
                </a:cxn>
                <a:cxn ang="0">
                  <a:pos x="79" y="17"/>
                </a:cxn>
                <a:cxn ang="0">
                  <a:pos x="92" y="22"/>
                </a:cxn>
                <a:cxn ang="0">
                  <a:pos x="109" y="13"/>
                </a:cxn>
                <a:cxn ang="0">
                  <a:pos x="137" y="12"/>
                </a:cxn>
                <a:cxn ang="0">
                  <a:pos x="144" y="26"/>
                </a:cxn>
                <a:cxn ang="0">
                  <a:pos x="148" y="33"/>
                </a:cxn>
                <a:cxn ang="0">
                  <a:pos x="144" y="39"/>
                </a:cxn>
                <a:cxn ang="0">
                  <a:pos x="140" y="56"/>
                </a:cxn>
                <a:cxn ang="0">
                  <a:pos x="142" y="65"/>
                </a:cxn>
                <a:cxn ang="0">
                  <a:pos x="143" y="79"/>
                </a:cxn>
                <a:cxn ang="0">
                  <a:pos x="138" y="91"/>
                </a:cxn>
                <a:cxn ang="0">
                  <a:pos x="131" y="94"/>
                </a:cxn>
                <a:cxn ang="0">
                  <a:pos x="116" y="99"/>
                </a:cxn>
                <a:cxn ang="0">
                  <a:pos x="107" y="114"/>
                </a:cxn>
                <a:cxn ang="0">
                  <a:pos x="105" y="124"/>
                </a:cxn>
                <a:cxn ang="0">
                  <a:pos x="99" y="132"/>
                </a:cxn>
                <a:cxn ang="0">
                  <a:pos x="89" y="126"/>
                </a:cxn>
                <a:cxn ang="0">
                  <a:pos x="80" y="133"/>
                </a:cxn>
                <a:cxn ang="0">
                  <a:pos x="70" y="149"/>
                </a:cxn>
                <a:cxn ang="0">
                  <a:pos x="56" y="155"/>
                </a:cxn>
                <a:cxn ang="0">
                  <a:pos x="51" y="170"/>
                </a:cxn>
                <a:cxn ang="0">
                  <a:pos x="58" y="187"/>
                </a:cxn>
                <a:cxn ang="0">
                  <a:pos x="40" y="188"/>
                </a:cxn>
                <a:cxn ang="0">
                  <a:pos x="26" y="195"/>
                </a:cxn>
                <a:cxn ang="0">
                  <a:pos x="19" y="171"/>
                </a:cxn>
                <a:cxn ang="0">
                  <a:pos x="11" y="151"/>
                </a:cxn>
                <a:cxn ang="0">
                  <a:pos x="1" y="126"/>
                </a:cxn>
                <a:cxn ang="0">
                  <a:pos x="6" y="106"/>
                </a:cxn>
                <a:cxn ang="0">
                  <a:pos x="13" y="90"/>
                </a:cxn>
                <a:cxn ang="0">
                  <a:pos x="24" y="74"/>
                </a:cxn>
                <a:cxn ang="0">
                  <a:pos x="30" y="61"/>
                </a:cxn>
                <a:cxn ang="0">
                  <a:pos x="49" y="58"/>
                </a:cxn>
                <a:cxn ang="0">
                  <a:pos x="56" y="33"/>
                </a:cxn>
                <a:cxn ang="0">
                  <a:pos x="56" y="18"/>
                </a:cxn>
                <a:cxn ang="0">
                  <a:pos x="18" y="170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3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1" name="Freeform 30"/>
            <p:cNvSpPr>
              <a:spLocks/>
            </p:cNvSpPr>
            <p:nvPr/>
          </p:nvSpPr>
          <p:spPr bwMode="auto">
            <a:xfrm rot="21439583">
              <a:off x="5140641" y="3925140"/>
              <a:ext cx="888099" cy="1265243"/>
            </a:xfrm>
            <a:custGeom>
              <a:avLst/>
              <a:gdLst/>
              <a:ahLst/>
              <a:cxnLst>
                <a:cxn ang="0">
                  <a:pos x="151" y="77"/>
                </a:cxn>
                <a:cxn ang="0">
                  <a:pos x="130" y="81"/>
                </a:cxn>
                <a:cxn ang="0">
                  <a:pos x="115" y="86"/>
                </a:cxn>
                <a:cxn ang="0">
                  <a:pos x="99" y="93"/>
                </a:cxn>
                <a:cxn ang="0">
                  <a:pos x="94" y="107"/>
                </a:cxn>
                <a:cxn ang="0">
                  <a:pos x="101" y="125"/>
                </a:cxn>
                <a:cxn ang="0">
                  <a:pos x="114" y="135"/>
                </a:cxn>
                <a:cxn ang="0">
                  <a:pos x="110" y="154"/>
                </a:cxn>
                <a:cxn ang="0">
                  <a:pos x="103" y="175"/>
                </a:cxn>
                <a:cxn ang="0">
                  <a:pos x="102" y="206"/>
                </a:cxn>
                <a:cxn ang="0">
                  <a:pos x="108" y="231"/>
                </a:cxn>
                <a:cxn ang="0">
                  <a:pos x="108" y="243"/>
                </a:cxn>
                <a:cxn ang="0">
                  <a:pos x="107" y="266"/>
                </a:cxn>
                <a:cxn ang="0">
                  <a:pos x="94" y="257"/>
                </a:cxn>
                <a:cxn ang="0">
                  <a:pos x="82" y="239"/>
                </a:cxn>
                <a:cxn ang="0">
                  <a:pos x="68" y="239"/>
                </a:cxn>
                <a:cxn ang="0">
                  <a:pos x="58" y="244"/>
                </a:cxn>
                <a:cxn ang="0">
                  <a:pos x="45" y="237"/>
                </a:cxn>
                <a:cxn ang="0">
                  <a:pos x="36" y="244"/>
                </a:cxn>
                <a:cxn ang="0">
                  <a:pos x="19" y="246"/>
                </a:cxn>
                <a:cxn ang="0">
                  <a:pos x="4" y="244"/>
                </a:cxn>
                <a:cxn ang="0">
                  <a:pos x="1" y="229"/>
                </a:cxn>
                <a:cxn ang="0">
                  <a:pos x="8" y="220"/>
                </a:cxn>
                <a:cxn ang="0">
                  <a:pos x="1" y="209"/>
                </a:cxn>
                <a:cxn ang="0">
                  <a:pos x="7" y="199"/>
                </a:cxn>
                <a:cxn ang="0">
                  <a:pos x="11" y="185"/>
                </a:cxn>
                <a:cxn ang="0">
                  <a:pos x="7" y="179"/>
                </a:cxn>
                <a:cxn ang="0">
                  <a:pos x="5" y="166"/>
                </a:cxn>
                <a:cxn ang="0">
                  <a:pos x="5" y="159"/>
                </a:cxn>
                <a:cxn ang="0">
                  <a:pos x="13" y="142"/>
                </a:cxn>
                <a:cxn ang="0">
                  <a:pos x="17" y="117"/>
                </a:cxn>
                <a:cxn ang="0">
                  <a:pos x="26" y="87"/>
                </a:cxn>
                <a:cxn ang="0">
                  <a:pos x="28" y="76"/>
                </a:cxn>
                <a:cxn ang="0">
                  <a:pos x="23" y="71"/>
                </a:cxn>
                <a:cxn ang="0">
                  <a:pos x="47" y="53"/>
                </a:cxn>
                <a:cxn ang="0">
                  <a:pos x="61" y="46"/>
                </a:cxn>
                <a:cxn ang="0">
                  <a:pos x="76" y="14"/>
                </a:cxn>
                <a:cxn ang="0">
                  <a:pos x="103" y="11"/>
                </a:cxn>
                <a:cxn ang="0">
                  <a:pos x="112" y="46"/>
                </a:cxn>
                <a:cxn ang="0">
                  <a:pos x="130" y="51"/>
                </a:cxn>
                <a:cxn ang="0">
                  <a:pos x="156" y="63"/>
                </a:cxn>
              </a:cxnLst>
              <a:rect l="0" t="0" r="r" b="b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2" name="Freeform 28"/>
            <p:cNvSpPr>
              <a:spLocks noEditPoints="1"/>
            </p:cNvSpPr>
            <p:nvPr/>
          </p:nvSpPr>
          <p:spPr bwMode="auto">
            <a:xfrm rot="21439583">
              <a:off x="4551519" y="5058292"/>
              <a:ext cx="1228136" cy="732240"/>
            </a:xfrm>
            <a:custGeom>
              <a:avLst/>
              <a:gdLst/>
              <a:ahLst/>
              <a:cxnLst>
                <a:cxn ang="0">
                  <a:pos x="16" y="101"/>
                </a:cxn>
                <a:cxn ang="0">
                  <a:pos x="34" y="100"/>
                </a:cxn>
                <a:cxn ang="0">
                  <a:pos x="27" y="83"/>
                </a:cxn>
                <a:cxn ang="0">
                  <a:pos x="32" y="68"/>
                </a:cxn>
                <a:cxn ang="0">
                  <a:pos x="46" y="62"/>
                </a:cxn>
                <a:cxn ang="0">
                  <a:pos x="56" y="46"/>
                </a:cxn>
                <a:cxn ang="0">
                  <a:pos x="65" y="39"/>
                </a:cxn>
                <a:cxn ang="0">
                  <a:pos x="75" y="45"/>
                </a:cxn>
                <a:cxn ang="0">
                  <a:pos x="81" y="37"/>
                </a:cxn>
                <a:cxn ang="0">
                  <a:pos x="83" y="27"/>
                </a:cxn>
                <a:cxn ang="0">
                  <a:pos x="92" y="12"/>
                </a:cxn>
                <a:cxn ang="0">
                  <a:pos x="107" y="7"/>
                </a:cxn>
                <a:cxn ang="0">
                  <a:pos x="117" y="9"/>
                </a:cxn>
                <a:cxn ang="0">
                  <a:pos x="132" y="11"/>
                </a:cxn>
                <a:cxn ang="0">
                  <a:pos x="149" y="9"/>
                </a:cxn>
                <a:cxn ang="0">
                  <a:pos x="158" y="2"/>
                </a:cxn>
                <a:cxn ang="0">
                  <a:pos x="171" y="9"/>
                </a:cxn>
                <a:cxn ang="0">
                  <a:pos x="181" y="4"/>
                </a:cxn>
                <a:cxn ang="0">
                  <a:pos x="195" y="4"/>
                </a:cxn>
                <a:cxn ang="0">
                  <a:pos x="207" y="22"/>
                </a:cxn>
                <a:cxn ang="0">
                  <a:pos x="220" y="31"/>
                </a:cxn>
                <a:cxn ang="0">
                  <a:pos x="211" y="37"/>
                </a:cxn>
                <a:cxn ang="0">
                  <a:pos x="208" y="59"/>
                </a:cxn>
                <a:cxn ang="0">
                  <a:pos x="199" y="77"/>
                </a:cxn>
                <a:cxn ang="0">
                  <a:pos x="192" y="89"/>
                </a:cxn>
                <a:cxn ang="0">
                  <a:pos x="180" y="98"/>
                </a:cxn>
                <a:cxn ang="0">
                  <a:pos x="163" y="110"/>
                </a:cxn>
                <a:cxn ang="0">
                  <a:pos x="157" y="133"/>
                </a:cxn>
                <a:cxn ang="0">
                  <a:pos x="148" y="137"/>
                </a:cxn>
                <a:cxn ang="0">
                  <a:pos x="140" y="143"/>
                </a:cxn>
                <a:cxn ang="0">
                  <a:pos x="130" y="136"/>
                </a:cxn>
                <a:cxn ang="0">
                  <a:pos x="114" y="149"/>
                </a:cxn>
                <a:cxn ang="0">
                  <a:pos x="101" y="154"/>
                </a:cxn>
                <a:cxn ang="0">
                  <a:pos x="85" y="149"/>
                </a:cxn>
                <a:cxn ang="0">
                  <a:pos x="81" y="139"/>
                </a:cxn>
                <a:cxn ang="0">
                  <a:pos x="72" y="142"/>
                </a:cxn>
                <a:cxn ang="0">
                  <a:pos x="74" y="129"/>
                </a:cxn>
                <a:cxn ang="0">
                  <a:pos x="65" y="122"/>
                </a:cxn>
                <a:cxn ang="0">
                  <a:pos x="66" y="132"/>
                </a:cxn>
                <a:cxn ang="0">
                  <a:pos x="60" y="142"/>
                </a:cxn>
                <a:cxn ang="0">
                  <a:pos x="46" y="135"/>
                </a:cxn>
                <a:cxn ang="0">
                  <a:pos x="33" y="142"/>
                </a:cxn>
                <a:cxn ang="0">
                  <a:pos x="18" y="132"/>
                </a:cxn>
                <a:cxn ang="0">
                  <a:pos x="1" y="117"/>
                </a:cxn>
                <a:cxn ang="0">
                  <a:pos x="114" y="4"/>
                </a:cxn>
                <a:cxn ang="0">
                  <a:pos x="114" y="4"/>
                </a:cxn>
                <a:cxn ang="0">
                  <a:pos x="114" y="5"/>
                </a:cxn>
              </a:cxnLst>
              <a:rect l="0" t="0" r="r" b="b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3" name="Freeform 17"/>
            <p:cNvSpPr>
              <a:spLocks/>
            </p:cNvSpPr>
            <p:nvPr/>
          </p:nvSpPr>
          <p:spPr bwMode="auto">
            <a:xfrm rot="21439583">
              <a:off x="4205241" y="6107695"/>
              <a:ext cx="292032" cy="146448"/>
            </a:xfrm>
            <a:custGeom>
              <a:avLst/>
              <a:gdLst/>
              <a:ahLst/>
              <a:cxnLst>
                <a:cxn ang="0">
                  <a:pos x="20" y="31"/>
                </a:cxn>
                <a:cxn ang="0">
                  <a:pos x="27" y="28"/>
                </a:cxn>
                <a:cxn ang="0">
                  <a:pos x="34" y="21"/>
                </a:cxn>
                <a:cxn ang="0">
                  <a:pos x="51" y="16"/>
                </a:cxn>
                <a:cxn ang="0">
                  <a:pos x="36" y="0"/>
                </a:cxn>
                <a:cxn ang="0">
                  <a:pos x="30" y="10"/>
                </a:cxn>
                <a:cxn ang="0">
                  <a:pos x="23" y="12"/>
                </a:cxn>
                <a:cxn ang="0">
                  <a:pos x="14" y="15"/>
                </a:cxn>
                <a:cxn ang="0">
                  <a:pos x="5" y="19"/>
                </a:cxn>
                <a:cxn ang="0">
                  <a:pos x="3" y="25"/>
                </a:cxn>
                <a:cxn ang="0">
                  <a:pos x="20" y="25"/>
                </a:cxn>
                <a:cxn ang="0">
                  <a:pos x="20" y="31"/>
                </a:cxn>
              </a:cxnLst>
              <a:rect l="0" t="0" r="r" b="b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4" name="Freeform 22"/>
            <p:cNvSpPr>
              <a:spLocks/>
            </p:cNvSpPr>
            <p:nvPr/>
          </p:nvSpPr>
          <p:spPr bwMode="auto">
            <a:xfrm rot="21439583">
              <a:off x="4012980" y="3893632"/>
              <a:ext cx="682076" cy="88379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95" y="46"/>
                </a:cxn>
                <a:cxn ang="0">
                  <a:pos x="93" y="68"/>
                </a:cxn>
                <a:cxn ang="0">
                  <a:pos x="96" y="88"/>
                </a:cxn>
                <a:cxn ang="0">
                  <a:pos x="107" y="108"/>
                </a:cxn>
                <a:cxn ang="0">
                  <a:pos x="111" y="130"/>
                </a:cxn>
                <a:cxn ang="0">
                  <a:pos x="112" y="146"/>
                </a:cxn>
                <a:cxn ang="0">
                  <a:pos x="115" y="162"/>
                </a:cxn>
                <a:cxn ang="0">
                  <a:pos x="120" y="183"/>
                </a:cxn>
                <a:cxn ang="0">
                  <a:pos x="104" y="178"/>
                </a:cxn>
                <a:cxn ang="0">
                  <a:pos x="109" y="165"/>
                </a:cxn>
                <a:cxn ang="0">
                  <a:pos x="97" y="155"/>
                </a:cxn>
                <a:cxn ang="0">
                  <a:pos x="88" y="145"/>
                </a:cxn>
                <a:cxn ang="0">
                  <a:pos x="77" y="153"/>
                </a:cxn>
                <a:cxn ang="0">
                  <a:pos x="49" y="139"/>
                </a:cxn>
                <a:cxn ang="0">
                  <a:pos x="37" y="133"/>
                </a:cxn>
                <a:cxn ang="0">
                  <a:pos x="27" y="148"/>
                </a:cxn>
                <a:cxn ang="0">
                  <a:pos x="7" y="147"/>
                </a:cxn>
                <a:cxn ang="0">
                  <a:pos x="10" y="115"/>
                </a:cxn>
                <a:cxn ang="0">
                  <a:pos x="2" y="101"/>
                </a:cxn>
                <a:cxn ang="0">
                  <a:pos x="3" y="82"/>
                </a:cxn>
                <a:cxn ang="0">
                  <a:pos x="9" y="70"/>
                </a:cxn>
                <a:cxn ang="0">
                  <a:pos x="9" y="54"/>
                </a:cxn>
                <a:cxn ang="0">
                  <a:pos x="11" y="44"/>
                </a:cxn>
                <a:cxn ang="0">
                  <a:pos x="1" y="31"/>
                </a:cxn>
                <a:cxn ang="0">
                  <a:pos x="6" y="17"/>
                </a:cxn>
                <a:cxn ang="0">
                  <a:pos x="16" y="26"/>
                </a:cxn>
                <a:cxn ang="0">
                  <a:pos x="27" y="40"/>
                </a:cxn>
                <a:cxn ang="0">
                  <a:pos x="39" y="28"/>
                </a:cxn>
                <a:cxn ang="0">
                  <a:pos x="53" y="16"/>
                </a:cxn>
                <a:cxn ang="0">
                  <a:pos x="64" y="3"/>
                </a:cxn>
                <a:cxn ang="0">
                  <a:pos x="78" y="13"/>
                </a:cxn>
              </a:cxnLst>
              <a:rect l="0" t="0" r="r" b="b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5" name="Freeform 10"/>
            <p:cNvSpPr>
              <a:spLocks noEditPoints="1"/>
            </p:cNvSpPr>
            <p:nvPr/>
          </p:nvSpPr>
          <p:spPr bwMode="auto">
            <a:xfrm rot="21439583">
              <a:off x="3442545" y="3294429"/>
              <a:ext cx="1168131" cy="1103469"/>
            </a:xfrm>
            <a:custGeom>
              <a:avLst/>
              <a:gdLst/>
              <a:ahLst/>
              <a:cxnLst>
                <a:cxn ang="0">
                  <a:pos x="194" y="133"/>
                </a:cxn>
                <a:cxn ang="0">
                  <a:pos x="187" y="148"/>
                </a:cxn>
                <a:cxn ang="0">
                  <a:pos x="175" y="142"/>
                </a:cxn>
                <a:cxn ang="0">
                  <a:pos x="161" y="132"/>
                </a:cxn>
                <a:cxn ang="0">
                  <a:pos x="150" y="145"/>
                </a:cxn>
                <a:cxn ang="0">
                  <a:pos x="136" y="157"/>
                </a:cxn>
                <a:cxn ang="0">
                  <a:pos x="124" y="169"/>
                </a:cxn>
                <a:cxn ang="0">
                  <a:pos x="113" y="155"/>
                </a:cxn>
                <a:cxn ang="0">
                  <a:pos x="103" y="146"/>
                </a:cxn>
                <a:cxn ang="0">
                  <a:pos x="98" y="160"/>
                </a:cxn>
                <a:cxn ang="0">
                  <a:pos x="108" y="173"/>
                </a:cxn>
                <a:cxn ang="0">
                  <a:pos x="106" y="183"/>
                </a:cxn>
                <a:cxn ang="0">
                  <a:pos x="106" y="199"/>
                </a:cxn>
                <a:cxn ang="0">
                  <a:pos x="100" y="211"/>
                </a:cxn>
                <a:cxn ang="0">
                  <a:pos x="80" y="227"/>
                </a:cxn>
                <a:cxn ang="0">
                  <a:pos x="57" y="214"/>
                </a:cxn>
                <a:cxn ang="0">
                  <a:pos x="38" y="216"/>
                </a:cxn>
                <a:cxn ang="0">
                  <a:pos x="14" y="212"/>
                </a:cxn>
                <a:cxn ang="0">
                  <a:pos x="2" y="210"/>
                </a:cxn>
                <a:cxn ang="0">
                  <a:pos x="14" y="192"/>
                </a:cxn>
                <a:cxn ang="0">
                  <a:pos x="11" y="176"/>
                </a:cxn>
                <a:cxn ang="0">
                  <a:pos x="15" y="163"/>
                </a:cxn>
                <a:cxn ang="0">
                  <a:pos x="25" y="160"/>
                </a:cxn>
                <a:cxn ang="0">
                  <a:pos x="20" y="148"/>
                </a:cxn>
                <a:cxn ang="0">
                  <a:pos x="27" y="122"/>
                </a:cxn>
                <a:cxn ang="0">
                  <a:pos x="35" y="101"/>
                </a:cxn>
                <a:cxn ang="0">
                  <a:pos x="53" y="93"/>
                </a:cxn>
                <a:cxn ang="0">
                  <a:pos x="67" y="75"/>
                </a:cxn>
                <a:cxn ang="0">
                  <a:pos x="83" y="71"/>
                </a:cxn>
                <a:cxn ang="0">
                  <a:pos x="95" y="58"/>
                </a:cxn>
                <a:cxn ang="0">
                  <a:pos x="106" y="49"/>
                </a:cxn>
                <a:cxn ang="0">
                  <a:pos x="97" y="30"/>
                </a:cxn>
                <a:cxn ang="0">
                  <a:pos x="103" y="12"/>
                </a:cxn>
                <a:cxn ang="0">
                  <a:pos x="122" y="2"/>
                </a:cxn>
                <a:cxn ang="0">
                  <a:pos x="130" y="6"/>
                </a:cxn>
                <a:cxn ang="0">
                  <a:pos x="139" y="22"/>
                </a:cxn>
                <a:cxn ang="0">
                  <a:pos x="148" y="31"/>
                </a:cxn>
                <a:cxn ang="0">
                  <a:pos x="165" y="40"/>
                </a:cxn>
                <a:cxn ang="0">
                  <a:pos x="170" y="51"/>
                </a:cxn>
                <a:cxn ang="0">
                  <a:pos x="188" y="52"/>
                </a:cxn>
                <a:cxn ang="0">
                  <a:pos x="196" y="65"/>
                </a:cxn>
                <a:cxn ang="0">
                  <a:pos x="198" y="73"/>
                </a:cxn>
                <a:cxn ang="0">
                  <a:pos x="208" y="85"/>
                </a:cxn>
                <a:cxn ang="0">
                  <a:pos x="202" y="110"/>
                </a:cxn>
                <a:cxn ang="0">
                  <a:pos x="201" y="122"/>
                </a:cxn>
                <a:cxn ang="0">
                  <a:pos x="207" y="129"/>
                </a:cxn>
                <a:cxn ang="0">
                  <a:pos x="197" y="65"/>
                </a:cxn>
                <a:cxn ang="0">
                  <a:pos x="197" y="65"/>
                </a:cxn>
                <a:cxn ang="0">
                  <a:pos x="197" y="65"/>
                </a:cxn>
              </a:cxnLst>
              <a:rect l="0" t="0" r="r" b="b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6" name="Freeform 23"/>
            <p:cNvSpPr>
              <a:spLocks noEditPoints="1"/>
            </p:cNvSpPr>
            <p:nvPr/>
          </p:nvSpPr>
          <p:spPr bwMode="auto">
            <a:xfrm rot="21439583">
              <a:off x="3245095" y="4307373"/>
              <a:ext cx="1026113" cy="822492"/>
            </a:xfrm>
            <a:custGeom>
              <a:avLst/>
              <a:gdLst/>
              <a:ahLst/>
              <a:cxnLst>
                <a:cxn ang="0">
                  <a:pos x="151" y="33"/>
                </a:cxn>
                <a:cxn ang="0">
                  <a:pos x="157" y="70"/>
                </a:cxn>
                <a:cxn ang="0">
                  <a:pos x="182" y="86"/>
                </a:cxn>
                <a:cxn ang="0">
                  <a:pos x="182" y="120"/>
                </a:cxn>
                <a:cxn ang="0">
                  <a:pos x="152" y="142"/>
                </a:cxn>
                <a:cxn ang="0">
                  <a:pos x="144" y="144"/>
                </a:cxn>
                <a:cxn ang="0">
                  <a:pos x="132" y="171"/>
                </a:cxn>
                <a:cxn ang="0">
                  <a:pos x="111" y="150"/>
                </a:cxn>
                <a:cxn ang="0">
                  <a:pos x="82" y="160"/>
                </a:cxn>
                <a:cxn ang="0">
                  <a:pos x="61" y="164"/>
                </a:cxn>
                <a:cxn ang="0">
                  <a:pos x="4" y="157"/>
                </a:cxn>
                <a:cxn ang="0">
                  <a:pos x="16" y="132"/>
                </a:cxn>
                <a:cxn ang="0">
                  <a:pos x="19" y="102"/>
                </a:cxn>
                <a:cxn ang="0">
                  <a:pos x="47" y="93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9" y="55"/>
                </a:cxn>
                <a:cxn ang="0">
                  <a:pos x="34" y="46"/>
                </a:cxn>
                <a:cxn ang="0">
                  <a:pos x="22" y="17"/>
                </a:cxn>
                <a:cxn ang="0">
                  <a:pos x="46" y="2"/>
                </a:cxn>
                <a:cxn ang="0">
                  <a:pos x="58" y="1"/>
                </a:cxn>
                <a:cxn ang="0">
                  <a:pos x="91" y="0"/>
                </a:cxn>
                <a:cxn ang="0">
                  <a:pos x="124" y="16"/>
                </a:cxn>
                <a:cxn ang="0">
                  <a:pos x="1" y="112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</a:cxnLst>
              <a:rect l="0" t="0" r="r" b="b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lnTo>
                    <a:pt x="46" y="2"/>
                  </a:ln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98" name="Параллелограмм 97"/>
          <p:cNvSpPr/>
          <p:nvPr/>
        </p:nvSpPr>
        <p:spPr>
          <a:xfrm>
            <a:off x="5219700" y="44624"/>
            <a:ext cx="3924300" cy="288925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4" name="Параллелограмм 103"/>
          <p:cNvSpPr/>
          <p:nvPr/>
        </p:nvSpPr>
        <p:spPr>
          <a:xfrm>
            <a:off x="1368425" y="44624"/>
            <a:ext cx="3924300" cy="288925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112" name="Прямая соединительная линия 111"/>
          <p:cNvCxnSpPr/>
          <p:nvPr/>
        </p:nvCxnSpPr>
        <p:spPr>
          <a:xfrm>
            <a:off x="250825" y="382761"/>
            <a:ext cx="8785225" cy="0"/>
          </a:xfrm>
          <a:prstGeom prst="line">
            <a:avLst/>
          </a:prstGeom>
          <a:ln w="158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25"/>
          <p:cNvSpPr txBox="1">
            <a:spLocks noChangeArrowheads="1"/>
          </p:cNvSpPr>
          <p:nvPr/>
        </p:nvSpPr>
        <p:spPr bwMode="auto">
          <a:xfrm>
            <a:off x="-327910" y="67298"/>
            <a:ext cx="8788342" cy="31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72" tIns="34286" rIns="68572" bIns="34286">
            <a:spAutoFit/>
          </a:bodyPr>
          <a:lstStyle/>
          <a:p>
            <a:pPr lvl="1"/>
            <a:r>
              <a:rPr lang="ru-RU" sz="1600" b="1" dirty="0" smtClean="0"/>
              <a:t>РЕЗУЛЬТАТЫ РЕАЛИЗАЦИИ КОМПЛЕКСНОГО ПЛАНА</a:t>
            </a:r>
            <a:endParaRPr lang="ru-RU" sz="1600" b="1" dirty="0"/>
          </a:p>
        </p:txBody>
      </p:sp>
      <p:grpSp>
        <p:nvGrpSpPr>
          <p:cNvPr id="121" name="Группа 120"/>
          <p:cNvGrpSpPr/>
          <p:nvPr/>
        </p:nvGrpSpPr>
        <p:grpSpPr>
          <a:xfrm>
            <a:off x="286553" y="2338704"/>
            <a:ext cx="8391424" cy="442224"/>
            <a:chOff x="29622" y="2797892"/>
            <a:chExt cx="7561683" cy="1737360"/>
          </a:xfrm>
          <a:solidFill>
            <a:schemeClr val="accent5">
              <a:lumMod val="40000"/>
              <a:lumOff val="60000"/>
            </a:schemeClr>
          </a:solidFill>
          <a:effectLst/>
        </p:grpSpPr>
        <p:sp>
          <p:nvSpPr>
            <p:cNvPr id="122" name="Скругленный прямоугольник 121"/>
            <p:cNvSpPr/>
            <p:nvPr/>
          </p:nvSpPr>
          <p:spPr>
            <a:xfrm>
              <a:off x="29622" y="2797892"/>
              <a:ext cx="7561683" cy="1737360"/>
            </a:xfrm>
            <a:prstGeom prst="roundRect">
              <a:avLst>
                <a:gd name="adj" fmla="val 10000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</p:sp>
        <p:sp>
          <p:nvSpPr>
            <p:cNvPr id="123" name="Скругленный прямоугольник 4"/>
            <p:cNvSpPr/>
            <p:nvPr/>
          </p:nvSpPr>
          <p:spPr>
            <a:xfrm>
              <a:off x="127829" y="2850992"/>
              <a:ext cx="7420665" cy="1472606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285750" indent="-285750" algn="just" defTabSz="533400">
                <a:spcBef>
                  <a:spcPct val="0"/>
                </a:spcBef>
                <a:buFont typeface="Wingdings" pitchFamily="2" charset="2"/>
                <a:buChar char="ü"/>
              </a:pPr>
              <a:r>
                <a:rPr lang="ru-RU" sz="1400" dirty="0" smtClean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Анализ существующих мер, направленных на развитие СОНКО </a:t>
              </a:r>
            </a:p>
            <a:p>
              <a:pPr algn="just" defTabSz="533400">
                <a:spcBef>
                  <a:spcPct val="0"/>
                </a:spcBef>
              </a:pPr>
              <a:r>
                <a:rPr lang="ru-RU" sz="1100" dirty="0" smtClean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в Иркутской области реализуются все виды поддержки – финансовая, имущественная, консультационная, информационная)</a:t>
              </a:r>
              <a:endParaRPr lang="ru-RU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28" name="Содержимое 8"/>
          <p:cNvSpPr txBox="1">
            <a:spLocks/>
          </p:cNvSpPr>
          <p:nvPr/>
        </p:nvSpPr>
        <p:spPr bwMode="auto">
          <a:xfrm>
            <a:off x="539552" y="622429"/>
            <a:ext cx="792088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287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400">
                <a:solidFill>
                  <a:schemeClr val="tx1"/>
                </a:solidFill>
                <a:latin typeface="+mn-lt"/>
              </a:defRPr>
            </a:lvl2pPr>
            <a:lvl3pPr marL="295275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431800" indent="-134938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582613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5pPr>
            <a:lvl6pPr marL="10398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6pPr>
            <a:lvl7pPr marL="14970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7pPr>
            <a:lvl8pPr marL="19542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8pPr>
            <a:lvl9pPr marL="24114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buNone/>
            </a:pPr>
            <a:r>
              <a:rPr kumimoji="0" lang="ru-RU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Мон</a:t>
            </a:r>
            <a:r>
              <a:rPr lang="ru-RU" sz="1400" b="1" kern="0" dirty="0" err="1" smtClean="0">
                <a:solidFill>
                  <a:srgbClr val="000000"/>
                </a:solidFill>
                <a:latin typeface="Arial"/>
              </a:rPr>
              <a:t>иторинг</a:t>
            </a:r>
            <a:r>
              <a:rPr lang="ru-RU" sz="1400" b="1" kern="0" dirty="0" smtClean="0">
                <a:solidFill>
                  <a:srgbClr val="000000"/>
                </a:solidFill>
                <a:latin typeface="Arial"/>
              </a:rPr>
              <a:t> реализации мер по обеспечению поэтапного доступа СОНКО, осуществляющих деятельность в социальной сфере, </a:t>
            </a:r>
          </a:p>
          <a:p>
            <a:pPr marL="0" lvl="1" indent="0" algn="ctr">
              <a:buNone/>
            </a:pPr>
            <a:r>
              <a:rPr lang="ru-RU" sz="1400" b="1" kern="0" dirty="0" smtClean="0">
                <a:solidFill>
                  <a:srgbClr val="000000"/>
                </a:solidFill>
                <a:latin typeface="Arial"/>
              </a:rPr>
              <a:t>к бюджетным средствам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7" name="Группа 46"/>
          <p:cNvGrpSpPr/>
          <p:nvPr/>
        </p:nvGrpSpPr>
        <p:grpSpPr>
          <a:xfrm>
            <a:off x="285032" y="1556792"/>
            <a:ext cx="8391424" cy="442224"/>
            <a:chOff x="28251" y="547838"/>
            <a:chExt cx="7561683" cy="1737360"/>
          </a:xfrm>
          <a:solidFill>
            <a:schemeClr val="accent5">
              <a:lumMod val="40000"/>
              <a:lumOff val="60000"/>
            </a:schemeClr>
          </a:solidFill>
          <a:effectLst/>
        </p:grpSpPr>
        <p:sp>
          <p:nvSpPr>
            <p:cNvPr id="48" name="Скругленный прямоугольник 47"/>
            <p:cNvSpPr/>
            <p:nvPr/>
          </p:nvSpPr>
          <p:spPr>
            <a:xfrm>
              <a:off x="28251" y="547838"/>
              <a:ext cx="7561683" cy="1737360"/>
            </a:xfrm>
            <a:prstGeom prst="roundRect">
              <a:avLst>
                <a:gd name="adj" fmla="val 10000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</p:sp>
        <p:sp>
          <p:nvSpPr>
            <p:cNvPr id="49" name="Скругленный прямоугольник 4"/>
            <p:cNvSpPr/>
            <p:nvPr/>
          </p:nvSpPr>
          <p:spPr>
            <a:xfrm>
              <a:off x="150824" y="690045"/>
              <a:ext cx="7420665" cy="1595153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285750" indent="-285750" algn="just" defTabSz="533400">
                <a:spcBef>
                  <a:spcPct val="0"/>
                </a:spcBef>
                <a:buFont typeface="Wingdings" pitchFamily="2" charset="2"/>
                <a:buChar char="ü"/>
              </a:pPr>
              <a:r>
                <a:rPr lang="ru-RU" sz="1400" dirty="0" smtClean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Оценка </a:t>
              </a:r>
              <a:r>
                <a:rPr lang="ru-RU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остребованности услуг в социальной сфере </a:t>
              </a:r>
              <a:endPara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just" defTabSz="533400">
                <a:spcBef>
                  <a:spcPct val="0"/>
                </a:spcBef>
              </a:pPr>
              <a:r>
                <a:rPr lang="ru-RU" sz="1100" dirty="0" smtClean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(в </a:t>
              </a:r>
              <a:r>
                <a:rPr lang="ru-RU" sz="11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рамках перечня общественно полезных услуг, утвержденного постановлением Правительства РФ от 27 октября 2016 года №</a:t>
              </a:r>
              <a:r>
                <a:rPr lang="ru-RU" sz="1100" dirty="0" smtClean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096)</a:t>
              </a:r>
              <a:endParaRPr lang="ru-RU" sz="11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285032" y="3068960"/>
            <a:ext cx="8391424" cy="442224"/>
            <a:chOff x="28251" y="547838"/>
            <a:chExt cx="7561683" cy="1737360"/>
          </a:xfrm>
          <a:solidFill>
            <a:schemeClr val="accent5">
              <a:lumMod val="40000"/>
              <a:lumOff val="60000"/>
            </a:schemeClr>
          </a:solidFill>
          <a:effectLst/>
        </p:grpSpPr>
        <p:sp>
          <p:nvSpPr>
            <p:cNvPr id="51" name="Скругленный прямоугольник 50"/>
            <p:cNvSpPr/>
            <p:nvPr/>
          </p:nvSpPr>
          <p:spPr>
            <a:xfrm>
              <a:off x="28251" y="547838"/>
              <a:ext cx="7561683" cy="1737360"/>
            </a:xfrm>
            <a:prstGeom prst="roundRect">
              <a:avLst>
                <a:gd name="adj" fmla="val 10000"/>
              </a:avLst>
            </a:prstGeom>
            <a:grpFill/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</p:sp>
        <p:sp>
          <p:nvSpPr>
            <p:cNvPr id="54" name="Скругленный прямоугольник 4"/>
            <p:cNvSpPr/>
            <p:nvPr/>
          </p:nvSpPr>
          <p:spPr>
            <a:xfrm>
              <a:off x="150824" y="690049"/>
              <a:ext cx="7420665" cy="1472606"/>
            </a:xfrm>
            <a:prstGeom prst="rect">
              <a:avLst/>
            </a:prstGeom>
            <a:grpFill/>
            <a:ln>
              <a:noFill/>
            </a:ln>
            <a:effectLst/>
          </p:spPr>
          <p:txBody>
            <a:bodyPr spcFirstLastPara="0" vert="horz" wrap="square" lIns="45720" tIns="45720" rIns="45720" bIns="45720" numCol="1" spcCol="1270" anchor="ctr" anchorCtr="0">
              <a:noAutofit/>
            </a:bodyPr>
            <a:lstStyle/>
            <a:p>
              <a:pPr marL="285750" indent="-285750" algn="just" defTabSz="533400">
                <a:spcBef>
                  <a:spcPct val="0"/>
                </a:spcBef>
                <a:buFont typeface="Wingdings" pitchFamily="2" charset="2"/>
                <a:buChar char="ü"/>
              </a:pPr>
              <a:r>
                <a:rPr lang="ru-RU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Доля расходов областного бюджета </a:t>
              </a:r>
              <a:r>
                <a:rPr lang="ru-RU" sz="1400" dirty="0" smtClean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на </a:t>
              </a:r>
              <a:r>
                <a:rPr lang="ru-RU" sz="14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оддержку </a:t>
              </a:r>
              <a:r>
                <a:rPr lang="ru-RU" sz="1400" dirty="0" smtClean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СОНКО в общем объеме средств бюджета на предоставление услуг в социальной сфере:</a:t>
              </a:r>
              <a:endPara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4433536" y="3573016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остоянию на 1 октября 2017 года</a:t>
            </a: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2000" b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4%</a:t>
            </a:r>
            <a:endParaRPr lang="ru-RU" sz="2000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323528" y="3582308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остоянию на 1 </a:t>
            </a:r>
            <a:r>
              <a:rPr lang="ru-RU" sz="1400" i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нваря </a:t>
            </a:r>
            <a:r>
              <a:rPr lang="ru-RU" sz="1400" i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7 года </a:t>
            </a:r>
            <a:r>
              <a:rPr lang="ru-RU" sz="1400" i="1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,1%</a:t>
            </a:r>
            <a:endParaRPr lang="ru-RU" sz="1600" dirty="0"/>
          </a:p>
        </p:txBody>
      </p:sp>
      <p:sp>
        <p:nvSpPr>
          <p:cNvPr id="77" name="Прямоугольник 76"/>
          <p:cNvSpPr/>
          <p:nvPr/>
        </p:nvSpPr>
        <p:spPr>
          <a:xfrm>
            <a:off x="4496427" y="4005064"/>
            <a:ext cx="3171917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ом числе по сферам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ое обслуживание – 6,6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разование – 5,1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 – 2,6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зическая культура – 2,3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лодежная политика – 13,5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жданское общество – 12,8%</a:t>
            </a:r>
          </a:p>
          <a:p>
            <a:pPr marL="285750" indent="-285750">
              <a:buFont typeface="Arial" pitchFamily="34" charset="0"/>
              <a:buChar char="•"/>
            </a:pPr>
            <a:endParaRPr lang="ru-RU" sz="1600" dirty="0"/>
          </a:p>
        </p:txBody>
      </p:sp>
      <p:sp>
        <p:nvSpPr>
          <p:cNvPr id="78" name="Прямоугольник 77"/>
          <p:cNvSpPr/>
          <p:nvPr/>
        </p:nvSpPr>
        <p:spPr>
          <a:xfrm>
            <a:off x="428483" y="4030613"/>
            <a:ext cx="3052135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ом числе по сферам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ое обслуживание – 0,0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</a:t>
            </a: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разование – 2,6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 – </a:t>
            </a: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,1%</a:t>
            </a:r>
            <a:endParaRPr lang="ru-RU" sz="14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зическая культура – 5,8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лодежная политика – 17,7%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4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жданское общество – 29,6%</a:t>
            </a:r>
          </a:p>
          <a:p>
            <a:pPr marL="285750" indent="-285750">
              <a:buFont typeface="Arial" pitchFamily="34" charset="0"/>
              <a:buChar char="•"/>
            </a:pPr>
            <a:endParaRPr lang="ru-RU" sz="1600" dirty="0"/>
          </a:p>
        </p:txBody>
      </p:sp>
      <p:sp>
        <p:nvSpPr>
          <p:cNvPr id="79" name="Rectangle 1"/>
          <p:cNvSpPr>
            <a:spLocks noChangeArrowheads="1"/>
          </p:cNvSpPr>
          <p:nvPr/>
        </p:nvSpPr>
        <p:spPr bwMode="auto">
          <a:xfrm>
            <a:off x="8502403" y="6478854"/>
            <a:ext cx="6061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 smtClean="0">
                <a:ln>
                  <a:noFill/>
                </a:ln>
                <a:solidFill>
                  <a:srgbClr val="2A2A2A"/>
                </a:solidFill>
                <a:effectLst/>
                <a:uLnTx/>
                <a:uFillTx/>
                <a:latin typeface="Arial"/>
                <a:ea typeface="Times New Roman" pitchFamily="18" charset="0"/>
                <a:cs typeface="Times New Roman" pitchFamily="18" charset="0"/>
              </a:rPr>
              <a:t>4</a:t>
            </a:r>
            <a:endParaRPr kumimoji="0" lang="ru-RU" sz="1100" b="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556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Группа 99"/>
          <p:cNvGrpSpPr/>
          <p:nvPr/>
        </p:nvGrpSpPr>
        <p:grpSpPr>
          <a:xfrm rot="21095698">
            <a:off x="900859" y="-1237965"/>
            <a:ext cx="7918345" cy="8662864"/>
            <a:chOff x="2045390" y="1136389"/>
            <a:chExt cx="6214834" cy="5579942"/>
          </a:xfrm>
          <a:solidFill>
            <a:schemeClr val="bg1">
              <a:lumMod val="65000"/>
              <a:alpha val="14000"/>
            </a:schemeClr>
          </a:solidFill>
          <a:effectLst/>
        </p:grpSpPr>
        <p:sp>
          <p:nvSpPr>
            <p:cNvPr id="41" name="Freeform 5"/>
            <p:cNvSpPr>
              <a:spLocks/>
            </p:cNvSpPr>
            <p:nvPr/>
          </p:nvSpPr>
          <p:spPr bwMode="auto">
            <a:xfrm rot="21439583">
              <a:off x="6752056" y="2477586"/>
              <a:ext cx="1508168" cy="1735240"/>
            </a:xfrm>
            <a:custGeom>
              <a:avLst/>
              <a:gdLst/>
              <a:ahLst/>
              <a:cxnLst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30" y="67"/>
                </a:cxn>
                <a:cxn ang="0">
                  <a:pos x="52" y="33"/>
                </a:cxn>
                <a:cxn ang="0">
                  <a:pos x="71" y="6"/>
                </a:cxn>
                <a:cxn ang="0">
                  <a:pos x="106" y="7"/>
                </a:cxn>
                <a:cxn ang="0">
                  <a:pos x="140" y="24"/>
                </a:cxn>
                <a:cxn ang="0">
                  <a:pos x="152" y="47"/>
                </a:cxn>
                <a:cxn ang="0">
                  <a:pos x="175" y="75"/>
                </a:cxn>
                <a:cxn ang="0">
                  <a:pos x="196" y="76"/>
                </a:cxn>
                <a:cxn ang="0">
                  <a:pos x="215" y="69"/>
                </a:cxn>
                <a:cxn ang="0">
                  <a:pos x="238" y="90"/>
                </a:cxn>
                <a:cxn ang="0">
                  <a:pos x="246" y="122"/>
                </a:cxn>
                <a:cxn ang="0">
                  <a:pos x="265" y="145"/>
                </a:cxn>
                <a:cxn ang="0">
                  <a:pos x="258" y="174"/>
                </a:cxn>
                <a:cxn ang="0">
                  <a:pos x="228" y="168"/>
                </a:cxn>
                <a:cxn ang="0">
                  <a:pos x="199" y="185"/>
                </a:cxn>
                <a:cxn ang="0">
                  <a:pos x="196" y="204"/>
                </a:cxn>
                <a:cxn ang="0">
                  <a:pos x="191" y="233"/>
                </a:cxn>
                <a:cxn ang="0">
                  <a:pos x="203" y="257"/>
                </a:cxn>
                <a:cxn ang="0">
                  <a:pos x="213" y="265"/>
                </a:cxn>
                <a:cxn ang="0">
                  <a:pos x="218" y="282"/>
                </a:cxn>
                <a:cxn ang="0">
                  <a:pos x="220" y="302"/>
                </a:cxn>
                <a:cxn ang="0">
                  <a:pos x="187" y="319"/>
                </a:cxn>
                <a:cxn ang="0">
                  <a:pos x="139" y="314"/>
                </a:cxn>
                <a:cxn ang="0">
                  <a:pos x="151" y="292"/>
                </a:cxn>
                <a:cxn ang="0">
                  <a:pos x="113" y="293"/>
                </a:cxn>
                <a:cxn ang="0">
                  <a:pos x="95" y="312"/>
                </a:cxn>
                <a:cxn ang="0">
                  <a:pos x="84" y="328"/>
                </a:cxn>
                <a:cxn ang="0">
                  <a:pos x="59" y="346"/>
                </a:cxn>
                <a:cxn ang="0">
                  <a:pos x="28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31" y="327"/>
                </a:cxn>
                <a:cxn ang="0">
                  <a:pos x="24" y="310"/>
                </a:cxn>
                <a:cxn ang="0">
                  <a:pos x="15" y="288"/>
                </a:cxn>
                <a:cxn ang="0">
                  <a:pos x="9" y="276"/>
                </a:cxn>
                <a:cxn ang="0">
                  <a:pos x="10" y="257"/>
                </a:cxn>
                <a:cxn ang="0">
                  <a:pos x="14" y="226"/>
                </a:cxn>
                <a:cxn ang="0">
                  <a:pos x="25" y="209"/>
                </a:cxn>
                <a:cxn ang="0">
                  <a:pos x="18" y="184"/>
                </a:cxn>
                <a:cxn ang="0">
                  <a:pos x="23" y="160"/>
                </a:cxn>
                <a:cxn ang="0">
                  <a:pos x="24" y="129"/>
                </a:cxn>
                <a:cxn ang="0">
                  <a:pos x="18" y="104"/>
                </a:cxn>
              </a:cxnLst>
              <a:rect l="0" t="0" r="r" b="b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8" y="350"/>
                  </a:lnTo>
                  <a:lnTo>
                    <a:pt x="28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auto">
            <a:xfrm rot="21439583">
              <a:off x="5936291" y="2923073"/>
              <a:ext cx="1012112" cy="1287381"/>
            </a:xfrm>
            <a:custGeom>
              <a:avLst/>
              <a:gdLst/>
              <a:ahLst/>
              <a:cxnLst>
                <a:cxn ang="0">
                  <a:pos x="8" y="81"/>
                </a:cxn>
                <a:cxn ang="0">
                  <a:pos x="18" y="70"/>
                </a:cxn>
                <a:cxn ang="0">
                  <a:pos x="25" y="59"/>
                </a:cxn>
                <a:cxn ang="0">
                  <a:pos x="36" y="51"/>
                </a:cxn>
                <a:cxn ang="0">
                  <a:pos x="52" y="47"/>
                </a:cxn>
                <a:cxn ang="0">
                  <a:pos x="77" y="41"/>
                </a:cxn>
                <a:cxn ang="0">
                  <a:pos x="88" y="29"/>
                </a:cxn>
                <a:cxn ang="0">
                  <a:pos x="98" y="27"/>
                </a:cxn>
                <a:cxn ang="0">
                  <a:pos x="105" y="40"/>
                </a:cxn>
                <a:cxn ang="0">
                  <a:pos x="108" y="51"/>
                </a:cxn>
                <a:cxn ang="0">
                  <a:pos x="106" y="64"/>
                </a:cxn>
                <a:cxn ang="0">
                  <a:pos x="121" y="54"/>
                </a:cxn>
                <a:cxn ang="0">
                  <a:pos x="137" y="51"/>
                </a:cxn>
                <a:cxn ang="0">
                  <a:pos x="149" y="43"/>
                </a:cxn>
                <a:cxn ang="0">
                  <a:pos x="147" y="28"/>
                </a:cxn>
                <a:cxn ang="0">
                  <a:pos x="152" y="15"/>
                </a:cxn>
                <a:cxn ang="0">
                  <a:pos x="159" y="9"/>
                </a:cxn>
                <a:cxn ang="0">
                  <a:pos x="171" y="8"/>
                </a:cxn>
                <a:cxn ang="0">
                  <a:pos x="166" y="38"/>
                </a:cxn>
                <a:cxn ang="0">
                  <a:pos x="167" y="59"/>
                </a:cxn>
                <a:cxn ang="0">
                  <a:pos x="177" y="80"/>
                </a:cxn>
                <a:cxn ang="0">
                  <a:pos x="167" y="99"/>
                </a:cxn>
                <a:cxn ang="0">
                  <a:pos x="181" y="121"/>
                </a:cxn>
                <a:cxn ang="0">
                  <a:pos x="169" y="140"/>
                </a:cxn>
                <a:cxn ang="0">
                  <a:pos x="152" y="161"/>
                </a:cxn>
                <a:cxn ang="0">
                  <a:pos x="149" y="180"/>
                </a:cxn>
                <a:cxn ang="0">
                  <a:pos x="149" y="197"/>
                </a:cxn>
                <a:cxn ang="0">
                  <a:pos x="168" y="216"/>
                </a:cxn>
                <a:cxn ang="0">
                  <a:pos x="171" y="234"/>
                </a:cxn>
                <a:cxn ang="0">
                  <a:pos x="180" y="253"/>
                </a:cxn>
                <a:cxn ang="0">
                  <a:pos x="171" y="265"/>
                </a:cxn>
                <a:cxn ang="0">
                  <a:pos x="156" y="268"/>
                </a:cxn>
                <a:cxn ang="0">
                  <a:pos x="141" y="261"/>
                </a:cxn>
                <a:cxn ang="0">
                  <a:pos x="135" y="244"/>
                </a:cxn>
                <a:cxn ang="0">
                  <a:pos x="127" y="255"/>
                </a:cxn>
                <a:cxn ang="0">
                  <a:pos x="117" y="254"/>
                </a:cxn>
                <a:cxn ang="0">
                  <a:pos x="104" y="251"/>
                </a:cxn>
                <a:cxn ang="0">
                  <a:pos x="92" y="252"/>
                </a:cxn>
                <a:cxn ang="0">
                  <a:pos x="74" y="239"/>
                </a:cxn>
                <a:cxn ang="0">
                  <a:pos x="62" y="265"/>
                </a:cxn>
                <a:cxn ang="0">
                  <a:pos x="29" y="265"/>
                </a:cxn>
                <a:cxn ang="0">
                  <a:pos x="49" y="240"/>
                </a:cxn>
                <a:cxn ang="0">
                  <a:pos x="41" y="213"/>
                </a:cxn>
                <a:cxn ang="0">
                  <a:pos x="41" y="194"/>
                </a:cxn>
                <a:cxn ang="0">
                  <a:pos x="32" y="176"/>
                </a:cxn>
                <a:cxn ang="0">
                  <a:pos x="24" y="155"/>
                </a:cxn>
                <a:cxn ang="0">
                  <a:pos x="34" y="141"/>
                </a:cxn>
                <a:cxn ang="0">
                  <a:pos x="47" y="129"/>
                </a:cxn>
                <a:cxn ang="0">
                  <a:pos x="70" y="116"/>
                </a:cxn>
                <a:cxn ang="0">
                  <a:pos x="68" y="82"/>
                </a:cxn>
                <a:cxn ang="0">
                  <a:pos x="38" y="84"/>
                </a:cxn>
                <a:cxn ang="0">
                  <a:pos x="18" y="100"/>
                </a:cxn>
                <a:cxn ang="0">
                  <a:pos x="4" y="89"/>
                </a:cxn>
              </a:cxnLst>
              <a:rect l="0" t="0" r="r" b="b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auto">
            <a:xfrm rot="21439583">
              <a:off x="2936531" y="3794175"/>
              <a:ext cx="630071" cy="1077926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30" y="31"/>
                </a:cxn>
                <a:cxn ang="0">
                  <a:pos x="35" y="28"/>
                </a:cxn>
                <a:cxn ang="0">
                  <a:pos x="46" y="27"/>
                </a:cxn>
                <a:cxn ang="0">
                  <a:pos x="52" y="20"/>
                </a:cxn>
                <a:cxn ang="0">
                  <a:pos x="59" y="12"/>
                </a:cxn>
                <a:cxn ang="0">
                  <a:pos x="61" y="2"/>
                </a:cxn>
                <a:cxn ang="0">
                  <a:pos x="78" y="4"/>
                </a:cxn>
                <a:cxn ang="0">
                  <a:pos x="79" y="18"/>
                </a:cxn>
                <a:cxn ang="0">
                  <a:pos x="84" y="24"/>
                </a:cxn>
                <a:cxn ang="0">
                  <a:pos x="91" y="28"/>
                </a:cxn>
                <a:cxn ang="0">
                  <a:pos x="93" y="51"/>
                </a:cxn>
                <a:cxn ang="0">
                  <a:pos x="108" y="64"/>
                </a:cxn>
                <a:cxn ang="0">
                  <a:pos x="107" y="78"/>
                </a:cxn>
                <a:cxn ang="0">
                  <a:pos x="105" y="88"/>
                </a:cxn>
                <a:cxn ang="0">
                  <a:pos x="110" y="94"/>
                </a:cxn>
                <a:cxn ang="0">
                  <a:pos x="111" y="104"/>
                </a:cxn>
                <a:cxn ang="0">
                  <a:pos x="98" y="112"/>
                </a:cxn>
                <a:cxn ang="0">
                  <a:pos x="98" y="115"/>
                </a:cxn>
                <a:cxn ang="0">
                  <a:pos x="98" y="115"/>
                </a:cxn>
                <a:cxn ang="0">
                  <a:pos x="88" y="120"/>
                </a:cxn>
                <a:cxn ang="0">
                  <a:pos x="83" y="129"/>
                </a:cxn>
                <a:cxn ang="0">
                  <a:pos x="74" y="130"/>
                </a:cxn>
                <a:cxn ang="0">
                  <a:pos x="71" y="139"/>
                </a:cxn>
                <a:cxn ang="0">
                  <a:pos x="81" y="150"/>
                </a:cxn>
                <a:cxn ang="0">
                  <a:pos x="86" y="159"/>
                </a:cxn>
                <a:cxn ang="0">
                  <a:pos x="97" y="159"/>
                </a:cxn>
                <a:cxn ang="0">
                  <a:pos x="101" y="165"/>
                </a:cxn>
                <a:cxn ang="0">
                  <a:pos x="99" y="206"/>
                </a:cxn>
                <a:cxn ang="0">
                  <a:pos x="92" y="210"/>
                </a:cxn>
                <a:cxn ang="0">
                  <a:pos x="78" y="209"/>
                </a:cxn>
                <a:cxn ang="0">
                  <a:pos x="71" y="215"/>
                </a:cxn>
                <a:cxn ang="0">
                  <a:pos x="71" y="223"/>
                </a:cxn>
                <a:cxn ang="0">
                  <a:pos x="61" y="221"/>
                </a:cxn>
                <a:cxn ang="0">
                  <a:pos x="55" y="226"/>
                </a:cxn>
                <a:cxn ang="0">
                  <a:pos x="44" y="215"/>
                </a:cxn>
                <a:cxn ang="0">
                  <a:pos x="37" y="215"/>
                </a:cxn>
                <a:cxn ang="0">
                  <a:pos x="27" y="207"/>
                </a:cxn>
                <a:cxn ang="0">
                  <a:pos x="18" y="200"/>
                </a:cxn>
                <a:cxn ang="0">
                  <a:pos x="7" y="186"/>
                </a:cxn>
                <a:cxn ang="0">
                  <a:pos x="10" y="179"/>
                </a:cxn>
                <a:cxn ang="0">
                  <a:pos x="4" y="173"/>
                </a:cxn>
                <a:cxn ang="0">
                  <a:pos x="6" y="163"/>
                </a:cxn>
                <a:cxn ang="0">
                  <a:pos x="1" y="153"/>
                </a:cxn>
                <a:cxn ang="0">
                  <a:pos x="4" y="146"/>
                </a:cxn>
                <a:cxn ang="0">
                  <a:pos x="6" y="136"/>
                </a:cxn>
                <a:cxn ang="0">
                  <a:pos x="7" y="123"/>
                </a:cxn>
                <a:cxn ang="0">
                  <a:pos x="5" y="110"/>
                </a:cxn>
                <a:cxn ang="0">
                  <a:pos x="10" y="104"/>
                </a:cxn>
                <a:cxn ang="0">
                  <a:pos x="8" y="91"/>
                </a:cxn>
                <a:cxn ang="0">
                  <a:pos x="19" y="89"/>
                </a:cxn>
                <a:cxn ang="0">
                  <a:pos x="17" y="77"/>
                </a:cxn>
                <a:cxn ang="0">
                  <a:pos x="23" y="72"/>
                </a:cxn>
                <a:cxn ang="0">
                  <a:pos x="24" y="52"/>
                </a:cxn>
                <a:cxn ang="0">
                  <a:pos x="29" y="45"/>
                </a:cxn>
                <a:cxn ang="0">
                  <a:pos x="28" y="32"/>
                </a:cxn>
              </a:cxnLst>
              <a:rect l="0" t="0" r="r" b="b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lnTo>
                    <a:pt x="98" y="115"/>
                  </a:ln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5" name="Freeform 9"/>
            <p:cNvSpPr>
              <a:spLocks noEditPoints="1"/>
            </p:cNvSpPr>
            <p:nvPr/>
          </p:nvSpPr>
          <p:spPr bwMode="auto">
            <a:xfrm rot="21439583">
              <a:off x="2045390" y="4696010"/>
              <a:ext cx="1344150" cy="1263539"/>
            </a:xfrm>
            <a:custGeom>
              <a:avLst/>
              <a:gdLst/>
              <a:ahLst/>
              <a:cxnLst>
                <a:cxn ang="0">
                  <a:pos x="210" y="238"/>
                </a:cxn>
                <a:cxn ang="0">
                  <a:pos x="199" y="253"/>
                </a:cxn>
                <a:cxn ang="0">
                  <a:pos x="167" y="264"/>
                </a:cxn>
                <a:cxn ang="0">
                  <a:pos x="160" y="247"/>
                </a:cxn>
                <a:cxn ang="0">
                  <a:pos x="142" y="251"/>
                </a:cxn>
                <a:cxn ang="0">
                  <a:pos x="120" y="238"/>
                </a:cxn>
                <a:cxn ang="0">
                  <a:pos x="111" y="226"/>
                </a:cxn>
                <a:cxn ang="0">
                  <a:pos x="92" y="218"/>
                </a:cxn>
                <a:cxn ang="0">
                  <a:pos x="77" y="201"/>
                </a:cxn>
                <a:cxn ang="0">
                  <a:pos x="49" y="182"/>
                </a:cxn>
                <a:cxn ang="0">
                  <a:pos x="35" y="183"/>
                </a:cxn>
                <a:cxn ang="0">
                  <a:pos x="19" y="162"/>
                </a:cxn>
                <a:cxn ang="0">
                  <a:pos x="10" y="145"/>
                </a:cxn>
                <a:cxn ang="0">
                  <a:pos x="1" y="126"/>
                </a:cxn>
                <a:cxn ang="0">
                  <a:pos x="15" y="120"/>
                </a:cxn>
                <a:cxn ang="0">
                  <a:pos x="27" y="106"/>
                </a:cxn>
                <a:cxn ang="0">
                  <a:pos x="43" y="112"/>
                </a:cxn>
                <a:cxn ang="0">
                  <a:pos x="55" y="91"/>
                </a:cxn>
                <a:cxn ang="0">
                  <a:pos x="58" y="79"/>
                </a:cxn>
                <a:cxn ang="0">
                  <a:pos x="79" y="80"/>
                </a:cxn>
                <a:cxn ang="0">
                  <a:pos x="98" y="86"/>
                </a:cxn>
                <a:cxn ang="0">
                  <a:pos x="109" y="106"/>
                </a:cxn>
                <a:cxn ang="0">
                  <a:pos x="128" y="107"/>
                </a:cxn>
                <a:cxn ang="0">
                  <a:pos x="128" y="83"/>
                </a:cxn>
                <a:cxn ang="0">
                  <a:pos x="131" y="67"/>
                </a:cxn>
                <a:cxn ang="0">
                  <a:pos x="151" y="71"/>
                </a:cxn>
                <a:cxn ang="0">
                  <a:pos x="140" y="44"/>
                </a:cxn>
                <a:cxn ang="0">
                  <a:pos x="147" y="27"/>
                </a:cxn>
                <a:cxn ang="0">
                  <a:pos x="170" y="12"/>
                </a:cxn>
                <a:cxn ang="0">
                  <a:pos x="179" y="4"/>
                </a:cxn>
                <a:cxn ang="0">
                  <a:pos x="196" y="21"/>
                </a:cxn>
                <a:cxn ang="0">
                  <a:pos x="224" y="40"/>
                </a:cxn>
                <a:cxn ang="0">
                  <a:pos x="235" y="48"/>
                </a:cxn>
                <a:cxn ang="0">
                  <a:pos x="228" y="81"/>
                </a:cxn>
                <a:cxn ang="0">
                  <a:pos x="226" y="101"/>
                </a:cxn>
                <a:cxn ang="0">
                  <a:pos x="225" y="132"/>
                </a:cxn>
                <a:cxn ang="0">
                  <a:pos x="218" y="145"/>
                </a:cxn>
                <a:cxn ang="0">
                  <a:pos x="203" y="173"/>
                </a:cxn>
                <a:cxn ang="0">
                  <a:pos x="191" y="189"/>
                </a:cxn>
                <a:cxn ang="0">
                  <a:pos x="191" y="210"/>
                </a:cxn>
                <a:cxn ang="0">
                  <a:pos x="211" y="225"/>
                </a:cxn>
                <a:cxn ang="0">
                  <a:pos x="177" y="1"/>
                </a:cxn>
                <a:cxn ang="0">
                  <a:pos x="58" y="76"/>
                </a:cxn>
                <a:cxn ang="0">
                  <a:pos x="57" y="76"/>
                </a:cxn>
              </a:cxnLst>
              <a:rect l="0" t="0" r="r" b="b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6" name="Freeform 12"/>
            <p:cNvSpPr>
              <a:spLocks noEditPoints="1"/>
            </p:cNvSpPr>
            <p:nvPr/>
          </p:nvSpPr>
          <p:spPr bwMode="auto">
            <a:xfrm rot="21439583">
              <a:off x="5098311" y="3274651"/>
              <a:ext cx="1306145" cy="1008108"/>
            </a:xfrm>
            <a:custGeom>
              <a:avLst/>
              <a:gdLst/>
              <a:ahLst/>
              <a:cxnLst>
                <a:cxn ang="0">
                  <a:pos x="139" y="12"/>
                </a:cxn>
                <a:cxn ang="0">
                  <a:pos x="156" y="21"/>
                </a:cxn>
                <a:cxn ang="0">
                  <a:pos x="170" y="32"/>
                </a:cxn>
                <a:cxn ang="0">
                  <a:pos x="190" y="16"/>
                </a:cxn>
                <a:cxn ang="0">
                  <a:pos x="220" y="14"/>
                </a:cxn>
                <a:cxn ang="0">
                  <a:pos x="222" y="48"/>
                </a:cxn>
                <a:cxn ang="0">
                  <a:pos x="199" y="61"/>
                </a:cxn>
                <a:cxn ang="0">
                  <a:pos x="186" y="73"/>
                </a:cxn>
                <a:cxn ang="0">
                  <a:pos x="176" y="87"/>
                </a:cxn>
                <a:cxn ang="0">
                  <a:pos x="184" y="108"/>
                </a:cxn>
                <a:cxn ang="0">
                  <a:pos x="193" y="126"/>
                </a:cxn>
                <a:cxn ang="0">
                  <a:pos x="193" y="145"/>
                </a:cxn>
                <a:cxn ang="0">
                  <a:pos x="201" y="172"/>
                </a:cxn>
                <a:cxn ang="0">
                  <a:pos x="181" y="197"/>
                </a:cxn>
                <a:cxn ang="0">
                  <a:pos x="168" y="189"/>
                </a:cxn>
                <a:cxn ang="0">
                  <a:pos x="156" y="199"/>
                </a:cxn>
                <a:cxn ang="0">
                  <a:pos x="130" y="187"/>
                </a:cxn>
                <a:cxn ang="0">
                  <a:pos x="112" y="182"/>
                </a:cxn>
                <a:cxn ang="0">
                  <a:pos x="103" y="147"/>
                </a:cxn>
                <a:cxn ang="0">
                  <a:pos x="76" y="150"/>
                </a:cxn>
                <a:cxn ang="0">
                  <a:pos x="61" y="182"/>
                </a:cxn>
                <a:cxn ang="0">
                  <a:pos x="47" y="189"/>
                </a:cxn>
                <a:cxn ang="0">
                  <a:pos x="23" y="207"/>
                </a:cxn>
                <a:cxn ang="0">
                  <a:pos x="0" y="192"/>
                </a:cxn>
                <a:cxn ang="0">
                  <a:pos x="11" y="178"/>
                </a:cxn>
                <a:cxn ang="0">
                  <a:pos x="18" y="159"/>
                </a:cxn>
                <a:cxn ang="0">
                  <a:pos x="13" y="133"/>
                </a:cxn>
                <a:cxn ang="0">
                  <a:pos x="26" y="125"/>
                </a:cxn>
                <a:cxn ang="0">
                  <a:pos x="10" y="108"/>
                </a:cxn>
                <a:cxn ang="0">
                  <a:pos x="12" y="79"/>
                </a:cxn>
                <a:cxn ang="0">
                  <a:pos x="23" y="73"/>
                </a:cxn>
                <a:cxn ang="0">
                  <a:pos x="29" y="54"/>
                </a:cxn>
                <a:cxn ang="0">
                  <a:pos x="42" y="44"/>
                </a:cxn>
                <a:cxn ang="0">
                  <a:pos x="52" y="52"/>
                </a:cxn>
                <a:cxn ang="0">
                  <a:pos x="64" y="67"/>
                </a:cxn>
                <a:cxn ang="0">
                  <a:pos x="77" y="81"/>
                </a:cxn>
                <a:cxn ang="0">
                  <a:pos x="85" y="57"/>
                </a:cxn>
                <a:cxn ang="0">
                  <a:pos x="89" y="36"/>
                </a:cxn>
                <a:cxn ang="0">
                  <a:pos x="107" y="16"/>
                </a:cxn>
                <a:cxn ang="0">
                  <a:pos x="128" y="0"/>
                </a:cxn>
                <a:cxn ang="0">
                  <a:pos x="234" y="174"/>
                </a:cxn>
                <a:cxn ang="0">
                  <a:pos x="181" y="197"/>
                </a:cxn>
                <a:cxn ang="0">
                  <a:pos x="181" y="197"/>
                </a:cxn>
                <a:cxn ang="0">
                  <a:pos x="181" y="197"/>
                </a:cxn>
              </a:cxnLst>
              <a:rect l="0" t="0" r="r" b="b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7" name="Freeform 13"/>
            <p:cNvSpPr>
              <a:spLocks/>
            </p:cNvSpPr>
            <p:nvPr/>
          </p:nvSpPr>
          <p:spPr bwMode="auto">
            <a:xfrm rot="21439583">
              <a:off x="3027423" y="5063253"/>
              <a:ext cx="598067" cy="807167"/>
            </a:xfrm>
            <a:custGeom>
              <a:avLst/>
              <a:gdLst/>
              <a:ahLst/>
              <a:cxnLst>
                <a:cxn ang="0">
                  <a:pos x="58" y="170"/>
                </a:cxn>
                <a:cxn ang="0">
                  <a:pos x="61" y="162"/>
                </a:cxn>
                <a:cxn ang="0">
                  <a:pos x="57" y="159"/>
                </a:cxn>
                <a:cxn ang="0">
                  <a:pos x="55" y="151"/>
                </a:cxn>
                <a:cxn ang="0">
                  <a:pos x="49" y="151"/>
                </a:cxn>
                <a:cxn ang="0">
                  <a:pos x="46" y="150"/>
                </a:cxn>
                <a:cxn ang="0">
                  <a:pos x="36" y="143"/>
                </a:cxn>
                <a:cxn ang="0">
                  <a:pos x="28" y="135"/>
                </a:cxn>
                <a:cxn ang="0">
                  <a:pos x="20" y="141"/>
                </a:cxn>
                <a:cxn ang="0">
                  <a:pos x="16" y="128"/>
                </a:cxn>
                <a:cxn ang="0">
                  <a:pos x="12" y="116"/>
                </a:cxn>
                <a:cxn ang="0">
                  <a:pos x="2" y="107"/>
                </a:cxn>
                <a:cxn ang="0">
                  <a:pos x="16" y="107"/>
                </a:cxn>
                <a:cxn ang="0">
                  <a:pos x="12" y="98"/>
                </a:cxn>
                <a:cxn ang="0">
                  <a:pos x="16" y="89"/>
                </a:cxn>
                <a:cxn ang="0">
                  <a:pos x="28" y="91"/>
                </a:cxn>
                <a:cxn ang="0">
                  <a:pos x="31" y="79"/>
                </a:cxn>
                <a:cxn ang="0">
                  <a:pos x="31" y="66"/>
                </a:cxn>
                <a:cxn ang="0">
                  <a:pos x="43" y="63"/>
                </a:cxn>
                <a:cxn ang="0">
                  <a:pos x="34" y="54"/>
                </a:cxn>
                <a:cxn ang="0">
                  <a:pos x="35" y="45"/>
                </a:cxn>
                <a:cxn ang="0">
                  <a:pos x="50" y="50"/>
                </a:cxn>
                <a:cxn ang="0">
                  <a:pos x="53" y="40"/>
                </a:cxn>
                <a:cxn ang="0">
                  <a:pos x="48" y="31"/>
                </a:cxn>
                <a:cxn ang="0">
                  <a:pos x="51" y="19"/>
                </a:cxn>
                <a:cxn ang="0">
                  <a:pos x="43" y="12"/>
                </a:cxn>
                <a:cxn ang="0">
                  <a:pos x="46" y="4"/>
                </a:cxn>
                <a:cxn ang="0">
                  <a:pos x="50" y="2"/>
                </a:cxn>
                <a:cxn ang="0">
                  <a:pos x="91" y="3"/>
                </a:cxn>
                <a:cxn ang="0">
                  <a:pos x="95" y="9"/>
                </a:cxn>
                <a:cxn ang="0">
                  <a:pos x="107" y="9"/>
                </a:cxn>
                <a:cxn ang="0">
                  <a:pos x="103" y="14"/>
                </a:cxn>
                <a:cxn ang="0">
                  <a:pos x="105" y="20"/>
                </a:cxn>
                <a:cxn ang="0">
                  <a:pos x="97" y="21"/>
                </a:cxn>
                <a:cxn ang="0">
                  <a:pos x="87" y="26"/>
                </a:cxn>
                <a:cxn ang="0">
                  <a:pos x="88" y="34"/>
                </a:cxn>
                <a:cxn ang="0">
                  <a:pos x="97" y="34"/>
                </a:cxn>
                <a:cxn ang="0">
                  <a:pos x="98" y="41"/>
                </a:cxn>
                <a:cxn ang="0">
                  <a:pos x="105" y="44"/>
                </a:cxn>
                <a:cxn ang="0">
                  <a:pos x="107" y="55"/>
                </a:cxn>
                <a:cxn ang="0">
                  <a:pos x="104" y="62"/>
                </a:cxn>
                <a:cxn ang="0">
                  <a:pos x="100" y="63"/>
                </a:cxn>
                <a:cxn ang="0">
                  <a:pos x="101" y="73"/>
                </a:cxn>
                <a:cxn ang="0">
                  <a:pos x="97" y="77"/>
                </a:cxn>
                <a:cxn ang="0">
                  <a:pos x="82" y="80"/>
                </a:cxn>
                <a:cxn ang="0">
                  <a:pos x="81" y="86"/>
                </a:cxn>
                <a:cxn ang="0">
                  <a:pos x="91" y="89"/>
                </a:cxn>
                <a:cxn ang="0">
                  <a:pos x="94" y="94"/>
                </a:cxn>
                <a:cxn ang="0">
                  <a:pos x="87" y="95"/>
                </a:cxn>
                <a:cxn ang="0">
                  <a:pos x="85" y="103"/>
                </a:cxn>
                <a:cxn ang="0">
                  <a:pos x="77" y="106"/>
                </a:cxn>
                <a:cxn ang="0">
                  <a:pos x="77" y="115"/>
                </a:cxn>
                <a:cxn ang="0">
                  <a:pos x="85" y="115"/>
                </a:cxn>
                <a:cxn ang="0">
                  <a:pos x="91" y="119"/>
                </a:cxn>
                <a:cxn ang="0">
                  <a:pos x="90" y="126"/>
                </a:cxn>
                <a:cxn ang="0">
                  <a:pos x="83" y="130"/>
                </a:cxn>
                <a:cxn ang="0">
                  <a:pos x="77" y="138"/>
                </a:cxn>
                <a:cxn ang="0">
                  <a:pos x="76" y="148"/>
                </a:cxn>
                <a:cxn ang="0">
                  <a:pos x="65" y="147"/>
                </a:cxn>
                <a:cxn ang="0">
                  <a:pos x="62" y="151"/>
                </a:cxn>
                <a:cxn ang="0">
                  <a:pos x="66" y="154"/>
                </a:cxn>
                <a:cxn ang="0">
                  <a:pos x="69" y="160"/>
                </a:cxn>
                <a:cxn ang="0">
                  <a:pos x="58" y="170"/>
                </a:cxn>
              </a:cxnLst>
              <a:rect l="0" t="0" r="r" b="b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auto">
            <a:xfrm rot="21439583">
              <a:off x="3356636" y="5584269"/>
              <a:ext cx="720080" cy="480213"/>
            </a:xfrm>
            <a:custGeom>
              <a:avLst/>
              <a:gdLst/>
              <a:ahLst/>
              <a:cxnLst>
                <a:cxn ang="0">
                  <a:pos x="46" y="101"/>
                </a:cxn>
                <a:cxn ang="0">
                  <a:pos x="41" y="97"/>
                </a:cxn>
                <a:cxn ang="0">
                  <a:pos x="35" y="93"/>
                </a:cxn>
                <a:cxn ang="0">
                  <a:pos x="28" y="92"/>
                </a:cxn>
                <a:cxn ang="0">
                  <a:pos x="26" y="87"/>
                </a:cxn>
                <a:cxn ang="0">
                  <a:pos x="19" y="80"/>
                </a:cxn>
                <a:cxn ang="0">
                  <a:pos x="10" y="78"/>
                </a:cxn>
                <a:cxn ang="0">
                  <a:pos x="10" y="73"/>
                </a:cxn>
                <a:cxn ang="0">
                  <a:pos x="4" y="70"/>
                </a:cxn>
                <a:cxn ang="0">
                  <a:pos x="0" y="61"/>
                </a:cxn>
                <a:cxn ang="0">
                  <a:pos x="1" y="57"/>
                </a:cxn>
                <a:cxn ang="0">
                  <a:pos x="10" y="49"/>
                </a:cxn>
                <a:cxn ang="0">
                  <a:pos x="19" y="49"/>
                </a:cxn>
                <a:cxn ang="0">
                  <a:pos x="35" y="49"/>
                </a:cxn>
                <a:cxn ang="0">
                  <a:pos x="36" y="43"/>
                </a:cxn>
                <a:cxn ang="0">
                  <a:pos x="44" y="43"/>
                </a:cxn>
                <a:cxn ang="0">
                  <a:pos x="50" y="39"/>
                </a:cxn>
                <a:cxn ang="0">
                  <a:pos x="57" y="32"/>
                </a:cxn>
                <a:cxn ang="0">
                  <a:pos x="66" y="37"/>
                </a:cxn>
                <a:cxn ang="0">
                  <a:pos x="66" y="31"/>
                </a:cxn>
                <a:cxn ang="0">
                  <a:pos x="74" y="31"/>
                </a:cxn>
                <a:cxn ang="0">
                  <a:pos x="76" y="25"/>
                </a:cxn>
                <a:cxn ang="0">
                  <a:pos x="84" y="24"/>
                </a:cxn>
                <a:cxn ang="0">
                  <a:pos x="87" y="17"/>
                </a:cxn>
                <a:cxn ang="0">
                  <a:pos x="93" y="15"/>
                </a:cxn>
                <a:cxn ang="0">
                  <a:pos x="101" y="9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114" y="9"/>
                </a:cxn>
                <a:cxn ang="0">
                  <a:pos x="120" y="9"/>
                </a:cxn>
                <a:cxn ang="0">
                  <a:pos x="123" y="13"/>
                </a:cxn>
                <a:cxn ang="0">
                  <a:pos x="118" y="17"/>
                </a:cxn>
                <a:cxn ang="0">
                  <a:pos x="122" y="20"/>
                </a:cxn>
                <a:cxn ang="0">
                  <a:pos x="127" y="22"/>
                </a:cxn>
                <a:cxn ang="0">
                  <a:pos x="128" y="28"/>
                </a:cxn>
                <a:cxn ang="0">
                  <a:pos x="126" y="36"/>
                </a:cxn>
                <a:cxn ang="0">
                  <a:pos x="119" y="38"/>
                </a:cxn>
                <a:cxn ang="0">
                  <a:pos x="119" y="46"/>
                </a:cxn>
                <a:cxn ang="0">
                  <a:pos x="112" y="43"/>
                </a:cxn>
                <a:cxn ang="0">
                  <a:pos x="110" y="49"/>
                </a:cxn>
                <a:cxn ang="0">
                  <a:pos x="97" y="48"/>
                </a:cxn>
                <a:cxn ang="0">
                  <a:pos x="99" y="59"/>
                </a:cxn>
                <a:cxn ang="0">
                  <a:pos x="87" y="58"/>
                </a:cxn>
                <a:cxn ang="0">
                  <a:pos x="88" y="73"/>
                </a:cxn>
                <a:cxn ang="0">
                  <a:pos x="78" y="72"/>
                </a:cxn>
                <a:cxn ang="0">
                  <a:pos x="66" y="70"/>
                </a:cxn>
                <a:cxn ang="0">
                  <a:pos x="59" y="72"/>
                </a:cxn>
                <a:cxn ang="0">
                  <a:pos x="49" y="80"/>
                </a:cxn>
                <a:cxn ang="0">
                  <a:pos x="42" y="86"/>
                </a:cxn>
                <a:cxn ang="0">
                  <a:pos x="46" y="101"/>
                </a:cxn>
              </a:cxnLst>
              <a:rect l="0" t="0" r="r" b="b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auto">
            <a:xfrm rot="21439583">
              <a:off x="3597638" y="5802537"/>
              <a:ext cx="702080" cy="461482"/>
            </a:xfrm>
            <a:custGeom>
              <a:avLst/>
              <a:gdLst/>
              <a:ahLst/>
              <a:cxnLst>
                <a:cxn ang="0">
                  <a:pos x="57" y="94"/>
                </a:cxn>
                <a:cxn ang="0">
                  <a:pos x="53" y="91"/>
                </a:cxn>
                <a:cxn ang="0">
                  <a:pos x="49" y="96"/>
                </a:cxn>
                <a:cxn ang="0">
                  <a:pos x="42" y="95"/>
                </a:cxn>
                <a:cxn ang="0">
                  <a:pos x="41" y="85"/>
                </a:cxn>
                <a:cxn ang="0">
                  <a:pos x="32" y="81"/>
                </a:cxn>
                <a:cxn ang="0">
                  <a:pos x="28" y="73"/>
                </a:cxn>
                <a:cxn ang="0">
                  <a:pos x="18" y="65"/>
                </a:cxn>
                <a:cxn ang="0">
                  <a:pos x="14" y="59"/>
                </a:cxn>
                <a:cxn ang="0">
                  <a:pos x="2" y="49"/>
                </a:cxn>
                <a:cxn ang="0">
                  <a:pos x="5" y="52"/>
                </a:cxn>
                <a:cxn ang="0">
                  <a:pos x="1" y="37"/>
                </a:cxn>
                <a:cxn ang="0">
                  <a:pos x="8" y="31"/>
                </a:cxn>
                <a:cxn ang="0">
                  <a:pos x="18" y="23"/>
                </a:cxn>
                <a:cxn ang="0">
                  <a:pos x="25" y="21"/>
                </a:cxn>
                <a:cxn ang="0">
                  <a:pos x="37" y="23"/>
                </a:cxn>
                <a:cxn ang="0">
                  <a:pos x="47" y="24"/>
                </a:cxn>
                <a:cxn ang="0">
                  <a:pos x="46" y="9"/>
                </a:cxn>
                <a:cxn ang="0">
                  <a:pos x="58" y="10"/>
                </a:cxn>
                <a:cxn ang="0">
                  <a:pos x="68" y="15"/>
                </a:cxn>
                <a:cxn ang="0">
                  <a:pos x="76" y="26"/>
                </a:cxn>
                <a:cxn ang="0">
                  <a:pos x="87" y="25"/>
                </a:cxn>
                <a:cxn ang="0">
                  <a:pos x="93" y="16"/>
                </a:cxn>
                <a:cxn ang="0">
                  <a:pos x="96" y="5"/>
                </a:cxn>
                <a:cxn ang="0">
                  <a:pos x="106" y="9"/>
                </a:cxn>
                <a:cxn ang="0">
                  <a:pos x="110" y="3"/>
                </a:cxn>
                <a:cxn ang="0">
                  <a:pos x="123" y="0"/>
                </a:cxn>
                <a:cxn ang="0">
                  <a:pos x="125" y="6"/>
                </a:cxn>
                <a:cxn ang="0">
                  <a:pos x="120" y="11"/>
                </a:cxn>
                <a:cxn ang="0">
                  <a:pos x="123" y="32"/>
                </a:cxn>
                <a:cxn ang="0">
                  <a:pos x="116" y="39"/>
                </a:cxn>
                <a:cxn ang="0">
                  <a:pos x="107" y="39"/>
                </a:cxn>
                <a:cxn ang="0">
                  <a:pos x="101" y="45"/>
                </a:cxn>
                <a:cxn ang="0">
                  <a:pos x="99" y="56"/>
                </a:cxn>
                <a:cxn ang="0">
                  <a:pos x="93" y="56"/>
                </a:cxn>
                <a:cxn ang="0">
                  <a:pos x="94" y="66"/>
                </a:cxn>
                <a:cxn ang="0">
                  <a:pos x="88" y="68"/>
                </a:cxn>
                <a:cxn ang="0">
                  <a:pos x="86" y="80"/>
                </a:cxn>
                <a:cxn ang="0">
                  <a:pos x="72" y="85"/>
                </a:cxn>
                <a:cxn ang="0">
                  <a:pos x="70" y="91"/>
                </a:cxn>
                <a:cxn ang="0">
                  <a:pos x="57" y="94"/>
                </a:cxn>
              </a:cxnLst>
              <a:rect l="0" t="0" r="r" b="b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auto">
            <a:xfrm rot="21439583">
              <a:off x="3921661" y="5939952"/>
              <a:ext cx="492055" cy="475105"/>
            </a:xfrm>
            <a:custGeom>
              <a:avLst/>
              <a:gdLst/>
              <a:ahLst/>
              <a:cxnLst>
                <a:cxn ang="0">
                  <a:pos x="18" y="84"/>
                </a:cxn>
                <a:cxn ang="0">
                  <a:pos x="15" y="82"/>
                </a:cxn>
                <a:cxn ang="0">
                  <a:pos x="0" y="64"/>
                </a:cxn>
                <a:cxn ang="0">
                  <a:pos x="13" y="61"/>
                </a:cxn>
                <a:cxn ang="0">
                  <a:pos x="15" y="55"/>
                </a:cxn>
                <a:cxn ang="0">
                  <a:pos x="29" y="50"/>
                </a:cxn>
                <a:cxn ang="0">
                  <a:pos x="31" y="38"/>
                </a:cxn>
                <a:cxn ang="0">
                  <a:pos x="37" y="36"/>
                </a:cxn>
                <a:cxn ang="0">
                  <a:pos x="36" y="26"/>
                </a:cxn>
                <a:cxn ang="0">
                  <a:pos x="42" y="26"/>
                </a:cxn>
                <a:cxn ang="0">
                  <a:pos x="44" y="15"/>
                </a:cxn>
                <a:cxn ang="0">
                  <a:pos x="50" y="9"/>
                </a:cxn>
                <a:cxn ang="0">
                  <a:pos x="59" y="9"/>
                </a:cxn>
                <a:cxn ang="0">
                  <a:pos x="66" y="2"/>
                </a:cxn>
                <a:cxn ang="0">
                  <a:pos x="66" y="0"/>
                </a:cxn>
                <a:cxn ang="0">
                  <a:pos x="73" y="2"/>
                </a:cxn>
                <a:cxn ang="0">
                  <a:pos x="80" y="7"/>
                </a:cxn>
                <a:cxn ang="0">
                  <a:pos x="81" y="18"/>
                </a:cxn>
                <a:cxn ang="0">
                  <a:pos x="86" y="24"/>
                </a:cxn>
                <a:cxn ang="0">
                  <a:pos x="88" y="30"/>
                </a:cxn>
                <a:cxn ang="0">
                  <a:pos x="86" y="37"/>
                </a:cxn>
                <a:cxn ang="0">
                  <a:pos x="80" y="47"/>
                </a:cxn>
                <a:cxn ang="0">
                  <a:pos x="73" y="49"/>
                </a:cxn>
                <a:cxn ang="0">
                  <a:pos x="64" y="52"/>
                </a:cxn>
                <a:cxn ang="0">
                  <a:pos x="55" y="56"/>
                </a:cxn>
                <a:cxn ang="0">
                  <a:pos x="53" y="62"/>
                </a:cxn>
                <a:cxn ang="0">
                  <a:pos x="70" y="62"/>
                </a:cxn>
                <a:cxn ang="0">
                  <a:pos x="71" y="68"/>
                </a:cxn>
                <a:cxn ang="0">
                  <a:pos x="78" y="70"/>
                </a:cxn>
                <a:cxn ang="0">
                  <a:pos x="74" y="77"/>
                </a:cxn>
                <a:cxn ang="0">
                  <a:pos x="67" y="84"/>
                </a:cxn>
                <a:cxn ang="0">
                  <a:pos x="66" y="90"/>
                </a:cxn>
                <a:cxn ang="0">
                  <a:pos x="65" y="98"/>
                </a:cxn>
                <a:cxn ang="0">
                  <a:pos x="57" y="96"/>
                </a:cxn>
                <a:cxn ang="0">
                  <a:pos x="50" y="92"/>
                </a:cxn>
                <a:cxn ang="0">
                  <a:pos x="42" y="90"/>
                </a:cxn>
                <a:cxn ang="0">
                  <a:pos x="35" y="89"/>
                </a:cxn>
                <a:cxn ang="0">
                  <a:pos x="29" y="82"/>
                </a:cxn>
                <a:cxn ang="0">
                  <a:pos x="18" y="84"/>
                </a:cxn>
              </a:cxnLst>
              <a:rect l="0" t="0" r="r" b="b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2" name="Freeform 18"/>
            <p:cNvSpPr>
              <a:spLocks/>
            </p:cNvSpPr>
            <p:nvPr/>
          </p:nvSpPr>
          <p:spPr bwMode="auto">
            <a:xfrm rot="21439583">
              <a:off x="4291159" y="6194786"/>
              <a:ext cx="252028" cy="23159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2" y="8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33" y="8"/>
                </a:cxn>
                <a:cxn ang="0">
                  <a:pos x="35" y="16"/>
                </a:cxn>
                <a:cxn ang="0">
                  <a:pos x="44" y="21"/>
                </a:cxn>
                <a:cxn ang="0">
                  <a:pos x="42" y="34"/>
                </a:cxn>
                <a:cxn ang="0">
                  <a:pos x="35" y="37"/>
                </a:cxn>
                <a:cxn ang="0">
                  <a:pos x="37" y="49"/>
                </a:cxn>
                <a:cxn ang="0">
                  <a:pos x="34" y="48"/>
                </a:cxn>
                <a:cxn ang="0">
                  <a:pos x="19" y="48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1" y="33"/>
                </a:cxn>
                <a:cxn ang="0">
                  <a:pos x="2" y="27"/>
                </a:cxn>
                <a:cxn ang="0">
                  <a:pos x="9" y="20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1"/>
                </a:cxn>
              </a:cxnLst>
              <a:rect l="0" t="0" r="r" b="b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3" name="Freeform 19"/>
            <p:cNvSpPr>
              <a:spLocks/>
            </p:cNvSpPr>
            <p:nvPr/>
          </p:nvSpPr>
          <p:spPr bwMode="auto">
            <a:xfrm rot="21439583">
              <a:off x="4037849" y="6311045"/>
              <a:ext cx="860096" cy="405286"/>
            </a:xfrm>
            <a:custGeom>
              <a:avLst/>
              <a:gdLst/>
              <a:ahLst/>
              <a:cxnLst>
                <a:cxn ang="0">
                  <a:pos x="154" y="30"/>
                </a:cxn>
                <a:cxn ang="0">
                  <a:pos x="142" y="32"/>
                </a:cxn>
                <a:cxn ang="0">
                  <a:pos x="126" y="33"/>
                </a:cxn>
                <a:cxn ang="0">
                  <a:pos x="58" y="32"/>
                </a:cxn>
                <a:cxn ang="0">
                  <a:pos x="114" y="58"/>
                </a:cxn>
                <a:cxn ang="0">
                  <a:pos x="116" y="64"/>
                </a:cxn>
                <a:cxn ang="0">
                  <a:pos x="113" y="72"/>
                </a:cxn>
                <a:cxn ang="0">
                  <a:pos x="88" y="72"/>
                </a:cxn>
                <a:cxn ang="0">
                  <a:pos x="87" y="78"/>
                </a:cxn>
                <a:cxn ang="0">
                  <a:pos x="80" y="78"/>
                </a:cxn>
                <a:cxn ang="0">
                  <a:pos x="76" y="84"/>
                </a:cxn>
                <a:cxn ang="0">
                  <a:pos x="67" y="82"/>
                </a:cxn>
                <a:cxn ang="0">
                  <a:pos x="65" y="74"/>
                </a:cxn>
                <a:cxn ang="0">
                  <a:pos x="63" y="55"/>
                </a:cxn>
                <a:cxn ang="0">
                  <a:pos x="43" y="57"/>
                </a:cxn>
                <a:cxn ang="0">
                  <a:pos x="33" y="49"/>
                </a:cxn>
                <a:cxn ang="0">
                  <a:pos x="34" y="26"/>
                </a:cxn>
                <a:cxn ang="0">
                  <a:pos x="29" y="17"/>
                </a:cxn>
                <a:cxn ang="0">
                  <a:pos x="18" y="15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2" y="0"/>
                </a:cxn>
                <a:cxn ang="0">
                  <a:pos x="18" y="7"/>
                </a:cxn>
                <a:cxn ang="0">
                  <a:pos x="25" y="8"/>
                </a:cxn>
                <a:cxn ang="0">
                  <a:pos x="33" y="10"/>
                </a:cxn>
                <a:cxn ang="0">
                  <a:pos x="40" y="14"/>
                </a:cxn>
                <a:cxn ang="0">
                  <a:pos x="48" y="16"/>
                </a:cxn>
                <a:cxn ang="0">
                  <a:pos x="56" y="22"/>
                </a:cxn>
                <a:cxn ang="0">
                  <a:pos x="67" y="23"/>
                </a:cxn>
                <a:cxn ang="0">
                  <a:pos x="82" y="23"/>
                </a:cxn>
                <a:cxn ang="0">
                  <a:pos x="154" y="30"/>
                </a:cxn>
              </a:cxnLst>
              <a:rect l="0" t="0" r="r" b="b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auto">
            <a:xfrm rot="21439583">
              <a:off x="3440681" y="5018480"/>
              <a:ext cx="586066" cy="618146"/>
            </a:xfrm>
            <a:custGeom>
              <a:avLst/>
              <a:gdLst/>
              <a:ahLst/>
              <a:cxnLst>
                <a:cxn ang="0">
                  <a:pos x="16" y="130"/>
                </a:cxn>
                <a:cxn ang="0">
                  <a:pos x="24" y="128"/>
                </a:cxn>
                <a:cxn ang="0">
                  <a:pos x="24" y="122"/>
                </a:cxn>
                <a:cxn ang="0">
                  <a:pos x="28" y="120"/>
                </a:cxn>
                <a:cxn ang="0">
                  <a:pos x="28" y="109"/>
                </a:cxn>
                <a:cxn ang="0">
                  <a:pos x="44" y="106"/>
                </a:cxn>
                <a:cxn ang="0">
                  <a:pos x="49" y="102"/>
                </a:cxn>
                <a:cxn ang="0">
                  <a:pos x="61" y="102"/>
                </a:cxn>
                <a:cxn ang="0">
                  <a:pos x="69" y="95"/>
                </a:cxn>
                <a:cxn ang="0">
                  <a:pos x="73" y="86"/>
                </a:cxn>
                <a:cxn ang="0">
                  <a:pos x="81" y="84"/>
                </a:cxn>
                <a:cxn ang="0">
                  <a:pos x="84" y="78"/>
                </a:cxn>
                <a:cxn ang="0">
                  <a:pos x="83" y="71"/>
                </a:cxn>
                <a:cxn ang="0">
                  <a:pos x="89" y="65"/>
                </a:cxn>
                <a:cxn ang="0">
                  <a:pos x="101" y="65"/>
                </a:cxn>
                <a:cxn ang="0">
                  <a:pos x="100" y="53"/>
                </a:cxn>
                <a:cxn ang="0">
                  <a:pos x="101" y="46"/>
                </a:cxn>
                <a:cxn ang="0">
                  <a:pos x="104" y="39"/>
                </a:cxn>
                <a:cxn ang="0">
                  <a:pos x="105" y="23"/>
                </a:cxn>
                <a:cxn ang="0">
                  <a:pos x="103" y="22"/>
                </a:cxn>
                <a:cxn ang="0">
                  <a:pos x="98" y="13"/>
                </a:cxn>
                <a:cxn ang="0">
                  <a:pos x="88" y="13"/>
                </a:cxn>
                <a:cxn ang="0">
                  <a:pos x="82" y="1"/>
                </a:cxn>
                <a:cxn ang="0">
                  <a:pos x="75" y="6"/>
                </a:cxn>
                <a:cxn ang="0">
                  <a:pos x="58" y="3"/>
                </a:cxn>
                <a:cxn ang="0">
                  <a:pos x="53" y="11"/>
                </a:cxn>
                <a:cxn ang="0">
                  <a:pos x="44" y="13"/>
                </a:cxn>
                <a:cxn ang="0">
                  <a:pos x="40" y="22"/>
                </a:cxn>
                <a:cxn ang="0">
                  <a:pos x="32" y="15"/>
                </a:cxn>
                <a:cxn ang="0">
                  <a:pos x="32" y="15"/>
                </a:cxn>
                <a:cxn ang="0">
                  <a:pos x="28" y="20"/>
                </a:cxn>
                <a:cxn ang="0">
                  <a:pos x="30" y="26"/>
                </a:cxn>
                <a:cxn ang="0">
                  <a:pos x="22" y="27"/>
                </a:cxn>
                <a:cxn ang="0">
                  <a:pos x="12" y="32"/>
                </a:cxn>
                <a:cxn ang="0">
                  <a:pos x="13" y="40"/>
                </a:cxn>
                <a:cxn ang="0">
                  <a:pos x="22" y="40"/>
                </a:cxn>
                <a:cxn ang="0">
                  <a:pos x="23" y="47"/>
                </a:cxn>
                <a:cxn ang="0">
                  <a:pos x="30" y="50"/>
                </a:cxn>
                <a:cxn ang="0">
                  <a:pos x="32" y="61"/>
                </a:cxn>
                <a:cxn ang="0">
                  <a:pos x="29" y="68"/>
                </a:cxn>
                <a:cxn ang="0">
                  <a:pos x="25" y="69"/>
                </a:cxn>
                <a:cxn ang="0">
                  <a:pos x="26" y="79"/>
                </a:cxn>
                <a:cxn ang="0">
                  <a:pos x="22" y="83"/>
                </a:cxn>
                <a:cxn ang="0">
                  <a:pos x="7" y="86"/>
                </a:cxn>
                <a:cxn ang="0">
                  <a:pos x="6" y="92"/>
                </a:cxn>
                <a:cxn ang="0">
                  <a:pos x="16" y="95"/>
                </a:cxn>
                <a:cxn ang="0">
                  <a:pos x="19" y="100"/>
                </a:cxn>
                <a:cxn ang="0">
                  <a:pos x="12" y="101"/>
                </a:cxn>
                <a:cxn ang="0">
                  <a:pos x="10" y="109"/>
                </a:cxn>
                <a:cxn ang="0">
                  <a:pos x="2" y="112"/>
                </a:cxn>
                <a:cxn ang="0">
                  <a:pos x="2" y="121"/>
                </a:cxn>
                <a:cxn ang="0">
                  <a:pos x="10" y="121"/>
                </a:cxn>
                <a:cxn ang="0">
                  <a:pos x="16" y="125"/>
                </a:cxn>
                <a:cxn ang="0">
                  <a:pos x="16" y="130"/>
                </a:cxn>
              </a:cxnLst>
              <a:rect l="0" t="0" r="r" b="b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6" name="Freeform 21"/>
            <p:cNvSpPr>
              <a:spLocks/>
            </p:cNvSpPr>
            <p:nvPr/>
          </p:nvSpPr>
          <p:spPr bwMode="auto">
            <a:xfrm rot="21439583">
              <a:off x="3372990" y="5323439"/>
              <a:ext cx="688076" cy="502351"/>
            </a:xfrm>
            <a:custGeom>
              <a:avLst/>
              <a:gdLst/>
              <a:ahLst/>
              <a:cxnLst>
                <a:cxn ang="0">
                  <a:pos x="29" y="66"/>
                </a:cxn>
                <a:cxn ang="0">
                  <a:pos x="37" y="64"/>
                </a:cxn>
                <a:cxn ang="0">
                  <a:pos x="37" y="58"/>
                </a:cxn>
                <a:cxn ang="0">
                  <a:pos x="41" y="56"/>
                </a:cxn>
                <a:cxn ang="0">
                  <a:pos x="41" y="45"/>
                </a:cxn>
                <a:cxn ang="0">
                  <a:pos x="57" y="42"/>
                </a:cxn>
                <a:cxn ang="0">
                  <a:pos x="62" y="38"/>
                </a:cxn>
                <a:cxn ang="0">
                  <a:pos x="74" y="38"/>
                </a:cxn>
                <a:cxn ang="0">
                  <a:pos x="82" y="31"/>
                </a:cxn>
                <a:cxn ang="0">
                  <a:pos x="86" y="22"/>
                </a:cxn>
                <a:cxn ang="0">
                  <a:pos x="94" y="20"/>
                </a:cxn>
                <a:cxn ang="0">
                  <a:pos x="97" y="14"/>
                </a:cxn>
                <a:cxn ang="0">
                  <a:pos x="96" y="7"/>
                </a:cxn>
                <a:cxn ang="0">
                  <a:pos x="102" y="1"/>
                </a:cxn>
                <a:cxn ang="0">
                  <a:pos x="112" y="2"/>
                </a:cxn>
                <a:cxn ang="0">
                  <a:pos x="114" y="8"/>
                </a:cxn>
                <a:cxn ang="0">
                  <a:pos x="119" y="13"/>
                </a:cxn>
                <a:cxn ang="0">
                  <a:pos x="123" y="20"/>
                </a:cxn>
                <a:cxn ang="0">
                  <a:pos x="118" y="28"/>
                </a:cxn>
                <a:cxn ang="0">
                  <a:pos x="111" y="33"/>
                </a:cxn>
                <a:cxn ang="0">
                  <a:pos x="115" y="40"/>
                </a:cxn>
                <a:cxn ang="0">
                  <a:pos x="116" y="48"/>
                </a:cxn>
                <a:cxn ang="0">
                  <a:pos x="112" y="55"/>
                </a:cxn>
                <a:cxn ang="0">
                  <a:pos x="104" y="54"/>
                </a:cxn>
                <a:cxn ang="0">
                  <a:pos x="104" y="60"/>
                </a:cxn>
                <a:cxn ang="0">
                  <a:pos x="96" y="64"/>
                </a:cxn>
                <a:cxn ang="0">
                  <a:pos x="88" y="70"/>
                </a:cxn>
                <a:cxn ang="0">
                  <a:pos x="82" y="72"/>
                </a:cxn>
                <a:cxn ang="0">
                  <a:pos x="79" y="79"/>
                </a:cxn>
                <a:cxn ang="0">
                  <a:pos x="71" y="80"/>
                </a:cxn>
                <a:cxn ang="0">
                  <a:pos x="69" y="86"/>
                </a:cxn>
                <a:cxn ang="0">
                  <a:pos x="61" y="86"/>
                </a:cxn>
                <a:cxn ang="0">
                  <a:pos x="61" y="92"/>
                </a:cxn>
                <a:cxn ang="0">
                  <a:pos x="52" y="87"/>
                </a:cxn>
                <a:cxn ang="0">
                  <a:pos x="45" y="94"/>
                </a:cxn>
                <a:cxn ang="0">
                  <a:pos x="39" y="98"/>
                </a:cxn>
                <a:cxn ang="0">
                  <a:pos x="31" y="98"/>
                </a:cxn>
                <a:cxn ang="0">
                  <a:pos x="30" y="104"/>
                </a:cxn>
                <a:cxn ang="0">
                  <a:pos x="14" y="104"/>
                </a:cxn>
                <a:cxn ang="0">
                  <a:pos x="5" y="104"/>
                </a:cxn>
                <a:cxn ang="0">
                  <a:pos x="7" y="102"/>
                </a:cxn>
                <a:cxn ang="0">
                  <a:pos x="4" y="96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4" y="90"/>
                </a:cxn>
                <a:cxn ang="0">
                  <a:pos x="15" y="80"/>
                </a:cxn>
                <a:cxn ang="0">
                  <a:pos x="21" y="72"/>
                </a:cxn>
                <a:cxn ang="0">
                  <a:pos x="28" y="68"/>
                </a:cxn>
                <a:cxn ang="0">
                  <a:pos x="29" y="66"/>
                </a:cxn>
              </a:cxnLst>
              <a:rect l="0" t="0" r="r" b="b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7" name="Freeform 24"/>
            <p:cNvSpPr>
              <a:spLocks noEditPoints="1"/>
            </p:cNvSpPr>
            <p:nvPr/>
          </p:nvSpPr>
          <p:spPr bwMode="auto">
            <a:xfrm rot="21439583">
              <a:off x="3976640" y="4919448"/>
              <a:ext cx="296033" cy="664125"/>
            </a:xfrm>
            <a:custGeom>
              <a:avLst/>
              <a:gdLst/>
              <a:ahLst/>
              <a:cxnLst>
                <a:cxn ang="0">
                  <a:pos x="45" y="7"/>
                </a:cxn>
                <a:cxn ang="0">
                  <a:pos x="49" y="13"/>
                </a:cxn>
                <a:cxn ang="0">
                  <a:pos x="51" y="21"/>
                </a:cxn>
                <a:cxn ang="0">
                  <a:pos x="52" y="30"/>
                </a:cxn>
                <a:cxn ang="0">
                  <a:pos x="45" y="33"/>
                </a:cxn>
                <a:cxn ang="0">
                  <a:pos x="38" y="43"/>
                </a:cxn>
                <a:cxn ang="0">
                  <a:pos x="35" y="53"/>
                </a:cxn>
                <a:cxn ang="0">
                  <a:pos x="37" y="64"/>
                </a:cxn>
                <a:cxn ang="0">
                  <a:pos x="43" y="74"/>
                </a:cxn>
                <a:cxn ang="0">
                  <a:pos x="45" y="84"/>
                </a:cxn>
                <a:cxn ang="0">
                  <a:pos x="39" y="97"/>
                </a:cxn>
                <a:cxn ang="0">
                  <a:pos x="33" y="105"/>
                </a:cxn>
                <a:cxn ang="0">
                  <a:pos x="28" y="113"/>
                </a:cxn>
                <a:cxn ang="0">
                  <a:pos x="38" y="124"/>
                </a:cxn>
                <a:cxn ang="0">
                  <a:pos x="38" y="139"/>
                </a:cxn>
                <a:cxn ang="0">
                  <a:pos x="35" y="139"/>
                </a:cxn>
                <a:cxn ang="0">
                  <a:pos x="29" y="139"/>
                </a:cxn>
                <a:cxn ang="0">
                  <a:pos x="24" y="136"/>
                </a:cxn>
                <a:cxn ang="0">
                  <a:pos x="25" y="124"/>
                </a:cxn>
                <a:cxn ang="0">
                  <a:pos x="16" y="122"/>
                </a:cxn>
                <a:cxn ang="0">
                  <a:pos x="5" y="124"/>
                </a:cxn>
                <a:cxn ang="0">
                  <a:pos x="5" y="122"/>
                </a:cxn>
                <a:cxn ang="0">
                  <a:pos x="1" y="115"/>
                </a:cxn>
                <a:cxn ang="0">
                  <a:pos x="8" y="110"/>
                </a:cxn>
                <a:cxn ang="0">
                  <a:pos x="13" y="102"/>
                </a:cxn>
                <a:cxn ang="0">
                  <a:pos x="9" y="95"/>
                </a:cxn>
                <a:cxn ang="0">
                  <a:pos x="4" y="90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4" y="83"/>
                </a:cxn>
                <a:cxn ang="0">
                  <a:pos x="3" y="71"/>
                </a:cxn>
                <a:cxn ang="0">
                  <a:pos x="4" y="64"/>
                </a:cxn>
                <a:cxn ang="0">
                  <a:pos x="7" y="57"/>
                </a:cxn>
                <a:cxn ang="0">
                  <a:pos x="8" y="41"/>
                </a:cxn>
                <a:cxn ang="0">
                  <a:pos x="13" y="38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6" y="2"/>
                </a:cxn>
                <a:cxn ang="0">
                  <a:pos x="22" y="2"/>
                </a:cxn>
                <a:cxn ang="0">
                  <a:pos x="26" y="11"/>
                </a:cxn>
                <a:cxn ang="0">
                  <a:pos x="38" y="10"/>
                </a:cxn>
                <a:cxn ang="0">
                  <a:pos x="45" y="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5" y="124"/>
                </a:cxn>
                <a:cxn ang="0">
                  <a:pos x="6" y="127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41"/>
                </a:cxn>
              </a:cxnLst>
              <a:rect l="0" t="0" r="r" b="b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lnTo>
                    <a:pt x="2" y="84"/>
                  </a:ln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8" name="Freeform 25"/>
            <p:cNvSpPr>
              <a:spLocks noEditPoints="1"/>
            </p:cNvSpPr>
            <p:nvPr/>
          </p:nvSpPr>
          <p:spPr bwMode="auto">
            <a:xfrm rot="21439583">
              <a:off x="4380244" y="5896375"/>
              <a:ext cx="786088" cy="556842"/>
            </a:xfrm>
            <a:custGeom>
              <a:avLst/>
              <a:gdLst/>
              <a:ahLst/>
              <a:cxnLst>
                <a:cxn ang="0">
                  <a:pos x="141" y="53"/>
                </a:cxn>
                <a:cxn ang="0">
                  <a:pos x="131" y="59"/>
                </a:cxn>
                <a:cxn ang="0">
                  <a:pos x="128" y="68"/>
                </a:cxn>
                <a:cxn ang="0">
                  <a:pos x="125" y="78"/>
                </a:cxn>
                <a:cxn ang="0">
                  <a:pos x="117" y="88"/>
                </a:cxn>
                <a:cxn ang="0">
                  <a:pos x="114" y="96"/>
                </a:cxn>
                <a:cxn ang="0">
                  <a:pos x="104" y="105"/>
                </a:cxn>
                <a:cxn ang="0">
                  <a:pos x="91" y="114"/>
                </a:cxn>
                <a:cxn ang="0">
                  <a:pos x="89" y="115"/>
                </a:cxn>
                <a:cxn ang="0">
                  <a:pos x="17" y="108"/>
                </a:cxn>
                <a:cxn ang="0">
                  <a:pos x="20" y="109"/>
                </a:cxn>
                <a:cxn ang="0">
                  <a:pos x="18" y="97"/>
                </a:cxn>
                <a:cxn ang="0">
                  <a:pos x="25" y="94"/>
                </a:cxn>
                <a:cxn ang="0">
                  <a:pos x="27" y="81"/>
                </a:cxn>
                <a:cxn ang="0">
                  <a:pos x="18" y="76"/>
                </a:cxn>
                <a:cxn ang="0">
                  <a:pos x="16" y="68"/>
                </a:cxn>
                <a:cxn ang="0">
                  <a:pos x="8" y="65"/>
                </a:cxn>
                <a:cxn ang="0">
                  <a:pos x="4" y="60"/>
                </a:cxn>
                <a:cxn ang="0">
                  <a:pos x="19" y="56"/>
                </a:cxn>
                <a:cxn ang="0">
                  <a:pos x="4" y="40"/>
                </a:cxn>
                <a:cxn ang="0">
                  <a:pos x="6" y="33"/>
                </a:cxn>
                <a:cxn ang="0">
                  <a:pos x="11" y="27"/>
                </a:cxn>
                <a:cxn ang="0">
                  <a:pos x="12" y="9"/>
                </a:cxn>
                <a:cxn ang="0">
                  <a:pos x="18" y="2"/>
                </a:cxn>
                <a:cxn ang="0">
                  <a:pos x="39" y="1"/>
                </a:cxn>
                <a:cxn ang="0">
                  <a:pos x="40" y="6"/>
                </a:cxn>
                <a:cxn ang="0">
                  <a:pos x="34" y="11"/>
                </a:cxn>
                <a:cxn ang="0">
                  <a:pos x="35" y="20"/>
                </a:cxn>
                <a:cxn ang="0">
                  <a:pos x="41" y="20"/>
                </a:cxn>
                <a:cxn ang="0">
                  <a:pos x="45" y="26"/>
                </a:cxn>
                <a:cxn ang="0">
                  <a:pos x="44" y="32"/>
                </a:cxn>
                <a:cxn ang="0">
                  <a:pos x="53" y="45"/>
                </a:cxn>
                <a:cxn ang="0">
                  <a:pos x="59" y="51"/>
                </a:cxn>
                <a:cxn ang="0">
                  <a:pos x="63" y="57"/>
                </a:cxn>
                <a:cxn ang="0">
                  <a:pos x="71" y="58"/>
                </a:cxn>
                <a:cxn ang="0">
                  <a:pos x="79" y="51"/>
                </a:cxn>
                <a:cxn ang="0">
                  <a:pos x="80" y="44"/>
                </a:cxn>
                <a:cxn ang="0">
                  <a:pos x="86" y="39"/>
                </a:cxn>
                <a:cxn ang="0">
                  <a:pos x="91" y="43"/>
                </a:cxn>
                <a:cxn ang="0">
                  <a:pos x="107" y="40"/>
                </a:cxn>
                <a:cxn ang="0">
                  <a:pos x="111" y="47"/>
                </a:cxn>
                <a:cxn ang="0">
                  <a:pos x="118" y="56"/>
                </a:cxn>
                <a:cxn ang="0">
                  <a:pos x="128" y="53"/>
                </a:cxn>
                <a:cxn ang="0">
                  <a:pos x="141" y="53"/>
                </a:cxn>
                <a:cxn ang="0">
                  <a:pos x="1" y="62"/>
                </a:cxn>
                <a:cxn ang="0">
                  <a:pos x="1" y="62"/>
                </a:cxn>
              </a:cxnLst>
              <a:rect l="0" t="0" r="r" b="b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9" name="Freeform 26"/>
            <p:cNvSpPr>
              <a:spLocks noEditPoints="1"/>
            </p:cNvSpPr>
            <p:nvPr/>
          </p:nvSpPr>
          <p:spPr bwMode="auto">
            <a:xfrm rot="21439583">
              <a:off x="4440373" y="3717130"/>
              <a:ext cx="854096" cy="1064302"/>
            </a:xfrm>
            <a:custGeom>
              <a:avLst/>
              <a:gdLst/>
              <a:ahLst/>
              <a:cxnLst>
                <a:cxn ang="0">
                  <a:pos x="151" y="126"/>
                </a:cxn>
                <a:cxn ang="0">
                  <a:pos x="149" y="137"/>
                </a:cxn>
                <a:cxn ang="0">
                  <a:pos x="140" y="167"/>
                </a:cxn>
                <a:cxn ang="0">
                  <a:pos x="136" y="192"/>
                </a:cxn>
                <a:cxn ang="0">
                  <a:pos x="128" y="209"/>
                </a:cxn>
                <a:cxn ang="0">
                  <a:pos x="95" y="211"/>
                </a:cxn>
                <a:cxn ang="0">
                  <a:pos x="78" y="220"/>
                </a:cxn>
                <a:cxn ang="0">
                  <a:pos x="65" y="215"/>
                </a:cxn>
                <a:cxn ang="0">
                  <a:pos x="55" y="219"/>
                </a:cxn>
                <a:cxn ang="0">
                  <a:pos x="41" y="216"/>
                </a:cxn>
                <a:cxn ang="0">
                  <a:pos x="41" y="201"/>
                </a:cxn>
                <a:cxn ang="0">
                  <a:pos x="39" y="184"/>
                </a:cxn>
                <a:cxn ang="0">
                  <a:pos x="37" y="170"/>
                </a:cxn>
                <a:cxn ang="0">
                  <a:pos x="27" y="153"/>
                </a:cxn>
                <a:cxn ang="0">
                  <a:pos x="26" y="129"/>
                </a:cxn>
                <a:cxn ang="0">
                  <a:pos x="17" y="111"/>
                </a:cxn>
                <a:cxn ang="0">
                  <a:pos x="18" y="89"/>
                </a:cxn>
                <a:cxn ang="0">
                  <a:pos x="14" y="7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19" y="50"/>
                </a:cxn>
                <a:cxn ang="0">
                  <a:pos x="32" y="32"/>
                </a:cxn>
                <a:cxn ang="0">
                  <a:pos x="33" y="41"/>
                </a:cxn>
                <a:cxn ang="0">
                  <a:pos x="48" y="51"/>
                </a:cxn>
                <a:cxn ang="0">
                  <a:pos x="63" y="51"/>
                </a:cxn>
                <a:cxn ang="0">
                  <a:pos x="72" y="18"/>
                </a:cxn>
                <a:cxn ang="0">
                  <a:pos x="94" y="11"/>
                </a:cxn>
                <a:cxn ang="0">
                  <a:pos x="124" y="3"/>
                </a:cxn>
                <a:cxn ang="0">
                  <a:pos x="130" y="3"/>
                </a:cxn>
                <a:cxn ang="0">
                  <a:pos x="143" y="30"/>
                </a:cxn>
                <a:cxn ang="0">
                  <a:pos x="146" y="48"/>
                </a:cxn>
                <a:cxn ang="0">
                  <a:pos x="137" y="59"/>
                </a:cxn>
                <a:cxn ang="0">
                  <a:pos x="140" y="84"/>
                </a:cxn>
                <a:cxn ang="0">
                  <a:pos x="134" y="101"/>
                </a:cxn>
                <a:cxn ang="0">
                  <a:pos x="133" y="123"/>
                </a:cxn>
                <a:cxn ang="0">
                  <a:pos x="130" y="3"/>
                </a:cxn>
                <a:cxn ang="0">
                  <a:pos x="130" y="3"/>
                </a:cxn>
                <a:cxn ang="0">
                  <a:pos x="130" y="1"/>
                </a:cxn>
                <a:cxn ang="0">
                  <a:pos x="130" y="1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28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2" y="46"/>
                </a:cxn>
              </a:cxnLst>
              <a:rect l="0" t="0" r="r" b="b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lnTo>
                    <a:pt x="41" y="216"/>
                  </a:ln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lnTo>
                    <a:pt x="8" y="48"/>
                  </a:ln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lnTo>
                    <a:pt x="130" y="3"/>
                  </a:ln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0" name="Freeform 27"/>
            <p:cNvSpPr>
              <a:spLocks noEditPoints="1"/>
            </p:cNvSpPr>
            <p:nvPr/>
          </p:nvSpPr>
          <p:spPr bwMode="auto">
            <a:xfrm rot="21439583">
              <a:off x="4121880" y="4514989"/>
              <a:ext cx="620069" cy="1168178"/>
            </a:xfrm>
            <a:custGeom>
              <a:avLst/>
              <a:gdLst/>
              <a:ahLst/>
              <a:cxnLst>
                <a:cxn ang="0">
                  <a:pos x="29" y="37"/>
                </a:cxn>
                <a:cxn ang="0">
                  <a:pos x="29" y="57"/>
                </a:cxn>
                <a:cxn ang="0">
                  <a:pos x="29" y="84"/>
                </a:cxn>
                <a:cxn ang="0">
                  <a:pos x="22" y="95"/>
                </a:cxn>
                <a:cxn ang="0">
                  <a:pos x="25" y="112"/>
                </a:cxn>
                <a:cxn ang="0">
                  <a:pos x="11" y="125"/>
                </a:cxn>
                <a:cxn ang="0">
                  <a:pos x="10" y="146"/>
                </a:cxn>
                <a:cxn ang="0">
                  <a:pos x="18" y="166"/>
                </a:cxn>
                <a:cxn ang="0">
                  <a:pos x="6" y="187"/>
                </a:cxn>
                <a:cxn ang="0">
                  <a:pos x="11" y="206"/>
                </a:cxn>
                <a:cxn ang="0">
                  <a:pos x="17" y="223"/>
                </a:cxn>
                <a:cxn ang="0">
                  <a:pos x="21" y="239"/>
                </a:cxn>
                <a:cxn ang="0">
                  <a:pos x="30" y="236"/>
                </a:cxn>
                <a:cxn ang="0">
                  <a:pos x="45" y="226"/>
                </a:cxn>
                <a:cxn ang="0">
                  <a:pos x="60" y="215"/>
                </a:cxn>
                <a:cxn ang="0">
                  <a:pos x="69" y="204"/>
                </a:cxn>
                <a:cxn ang="0">
                  <a:pos x="68" y="195"/>
                </a:cxn>
                <a:cxn ang="0">
                  <a:pos x="57" y="176"/>
                </a:cxn>
                <a:cxn ang="0">
                  <a:pos x="60" y="153"/>
                </a:cxn>
                <a:cxn ang="0">
                  <a:pos x="58" y="127"/>
                </a:cxn>
                <a:cxn ang="0">
                  <a:pos x="76" y="116"/>
                </a:cxn>
                <a:cxn ang="0">
                  <a:pos x="76" y="100"/>
                </a:cxn>
                <a:cxn ang="0">
                  <a:pos x="95" y="96"/>
                </a:cxn>
                <a:cxn ang="0">
                  <a:pos x="109" y="85"/>
                </a:cxn>
                <a:cxn ang="0">
                  <a:pos x="109" y="58"/>
                </a:cxn>
                <a:cxn ang="0">
                  <a:pos x="102" y="47"/>
                </a:cxn>
                <a:cxn ang="0">
                  <a:pos x="92" y="39"/>
                </a:cxn>
                <a:cxn ang="0">
                  <a:pos x="89" y="30"/>
                </a:cxn>
                <a:cxn ang="0">
                  <a:pos x="81" y="13"/>
                </a:cxn>
                <a:cxn ang="0">
                  <a:pos x="72" y="18"/>
                </a:cxn>
                <a:cxn ang="0">
                  <a:pos x="50" y="21"/>
                </a:cxn>
                <a:cxn ang="0">
                  <a:pos x="34" y="1"/>
                </a:cxn>
                <a:cxn ang="0">
                  <a:pos x="18" y="8"/>
                </a:cxn>
                <a:cxn ang="0">
                  <a:pos x="11" y="221"/>
                </a:cxn>
              </a:cxnLst>
              <a:rect l="0" t="0" r="r" b="b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1" name="Freeform 29"/>
            <p:cNvSpPr>
              <a:spLocks noEditPoints="1"/>
            </p:cNvSpPr>
            <p:nvPr/>
          </p:nvSpPr>
          <p:spPr bwMode="auto">
            <a:xfrm rot="21439583">
              <a:off x="4791548" y="5206509"/>
              <a:ext cx="1122126" cy="941695"/>
            </a:xfrm>
            <a:custGeom>
              <a:avLst/>
              <a:gdLst/>
              <a:ahLst/>
              <a:cxnLst>
                <a:cxn ang="0">
                  <a:pos x="178" y="1"/>
                </a:cxn>
                <a:cxn ang="0">
                  <a:pos x="197" y="22"/>
                </a:cxn>
                <a:cxn ang="0">
                  <a:pos x="183" y="36"/>
                </a:cxn>
                <a:cxn ang="0">
                  <a:pos x="178" y="55"/>
                </a:cxn>
                <a:cxn ang="0">
                  <a:pos x="170" y="69"/>
                </a:cxn>
                <a:cxn ang="0">
                  <a:pos x="159" y="90"/>
                </a:cxn>
                <a:cxn ang="0">
                  <a:pos x="152" y="106"/>
                </a:cxn>
                <a:cxn ang="0">
                  <a:pos x="145" y="123"/>
                </a:cxn>
                <a:cxn ang="0">
                  <a:pos x="129" y="138"/>
                </a:cxn>
                <a:cxn ang="0">
                  <a:pos x="104" y="164"/>
                </a:cxn>
                <a:cxn ang="0">
                  <a:pos x="82" y="180"/>
                </a:cxn>
                <a:cxn ang="0">
                  <a:pos x="73" y="185"/>
                </a:cxn>
                <a:cxn ang="0">
                  <a:pos x="63" y="193"/>
                </a:cxn>
                <a:cxn ang="0">
                  <a:pos x="62" y="193"/>
                </a:cxn>
                <a:cxn ang="0">
                  <a:pos x="39" y="196"/>
                </a:cxn>
                <a:cxn ang="0">
                  <a:pos x="28" y="180"/>
                </a:cxn>
                <a:cxn ang="0">
                  <a:pos x="7" y="179"/>
                </a:cxn>
                <a:cxn ang="0">
                  <a:pos x="18" y="174"/>
                </a:cxn>
                <a:cxn ang="0">
                  <a:pos x="27" y="162"/>
                </a:cxn>
                <a:cxn ang="0">
                  <a:pos x="31" y="145"/>
                </a:cxn>
                <a:cxn ang="0">
                  <a:pos x="41" y="130"/>
                </a:cxn>
                <a:cxn ang="0">
                  <a:pos x="52" y="121"/>
                </a:cxn>
                <a:cxn ang="0">
                  <a:pos x="65" y="114"/>
                </a:cxn>
                <a:cxn ang="0">
                  <a:pos x="78" y="110"/>
                </a:cxn>
                <a:cxn ang="0">
                  <a:pos x="95" y="104"/>
                </a:cxn>
                <a:cxn ang="0">
                  <a:pos x="106" y="112"/>
                </a:cxn>
                <a:cxn ang="0">
                  <a:pos x="111" y="100"/>
                </a:cxn>
                <a:cxn ang="0">
                  <a:pos x="116" y="85"/>
                </a:cxn>
                <a:cxn ang="0">
                  <a:pos x="129" y="72"/>
                </a:cxn>
                <a:cxn ang="0">
                  <a:pos x="143" y="57"/>
                </a:cxn>
                <a:cxn ang="0">
                  <a:pos x="153" y="47"/>
                </a:cxn>
                <a:cxn ang="0">
                  <a:pos x="157" y="31"/>
                </a:cxn>
                <a:cxn ang="0">
                  <a:pos x="167" y="14"/>
                </a:cxn>
                <a:cxn ang="0">
                  <a:pos x="177" y="0"/>
                </a:cxn>
                <a:cxn ang="0">
                  <a:pos x="55" y="197"/>
                </a:cxn>
                <a:cxn ang="0">
                  <a:pos x="55" y="197"/>
                </a:cxn>
                <a:cxn ang="0">
                  <a:pos x="55" y="197"/>
                </a:cxn>
              </a:cxnLst>
              <a:rect l="0" t="0" r="r" b="b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auto">
            <a:xfrm rot="21439583">
              <a:off x="3883639" y="5462975"/>
              <a:ext cx="1216136" cy="727131"/>
            </a:xfrm>
            <a:custGeom>
              <a:avLst/>
              <a:gdLst/>
              <a:ahLst/>
              <a:cxnLst>
                <a:cxn ang="0">
                  <a:pos x="97" y="121"/>
                </a:cxn>
                <a:cxn ang="0">
                  <a:pos x="104" y="96"/>
                </a:cxn>
                <a:cxn ang="0">
                  <a:pos x="126" y="100"/>
                </a:cxn>
                <a:cxn ang="0">
                  <a:pos x="121" y="114"/>
                </a:cxn>
                <a:cxn ang="0">
                  <a:pos x="131" y="120"/>
                </a:cxn>
                <a:cxn ang="0">
                  <a:pos x="139" y="139"/>
                </a:cxn>
                <a:cxn ang="0">
                  <a:pos x="149" y="151"/>
                </a:cxn>
                <a:cxn ang="0">
                  <a:pos x="165" y="145"/>
                </a:cxn>
                <a:cxn ang="0">
                  <a:pos x="175" y="130"/>
                </a:cxn>
                <a:cxn ang="0">
                  <a:pos x="185" y="121"/>
                </a:cxn>
                <a:cxn ang="0">
                  <a:pos x="196" y="104"/>
                </a:cxn>
                <a:cxn ang="0">
                  <a:pos x="202" y="96"/>
                </a:cxn>
                <a:cxn ang="0">
                  <a:pos x="216" y="83"/>
                </a:cxn>
                <a:cxn ang="0">
                  <a:pos x="209" y="70"/>
                </a:cxn>
                <a:cxn ang="0">
                  <a:pos x="205" y="60"/>
                </a:cxn>
                <a:cxn ang="0">
                  <a:pos x="196" y="63"/>
                </a:cxn>
                <a:cxn ang="0">
                  <a:pos x="198" y="50"/>
                </a:cxn>
                <a:cxn ang="0">
                  <a:pos x="189" y="43"/>
                </a:cxn>
                <a:cxn ang="0">
                  <a:pos x="190" y="53"/>
                </a:cxn>
                <a:cxn ang="0">
                  <a:pos x="184" y="63"/>
                </a:cxn>
                <a:cxn ang="0">
                  <a:pos x="170" y="56"/>
                </a:cxn>
                <a:cxn ang="0">
                  <a:pos x="157" y="63"/>
                </a:cxn>
                <a:cxn ang="0">
                  <a:pos x="142" y="53"/>
                </a:cxn>
                <a:cxn ang="0">
                  <a:pos x="125" y="38"/>
                </a:cxn>
                <a:cxn ang="0">
                  <a:pos x="117" y="3"/>
                </a:cxn>
                <a:cxn ang="0">
                  <a:pos x="108" y="14"/>
                </a:cxn>
                <a:cxn ang="0">
                  <a:pos x="93" y="25"/>
                </a:cxn>
                <a:cxn ang="0">
                  <a:pos x="78" y="35"/>
                </a:cxn>
                <a:cxn ang="0">
                  <a:pos x="69" y="38"/>
                </a:cxn>
                <a:cxn ang="0">
                  <a:pos x="65" y="22"/>
                </a:cxn>
                <a:cxn ang="0">
                  <a:pos x="50" y="20"/>
                </a:cxn>
                <a:cxn ang="0">
                  <a:pos x="46" y="5"/>
                </a:cxn>
                <a:cxn ang="0">
                  <a:pos x="26" y="5"/>
                </a:cxn>
                <a:cxn ang="0">
                  <a:pos x="23" y="18"/>
                </a:cxn>
                <a:cxn ang="0">
                  <a:pos x="15" y="18"/>
                </a:cxn>
                <a:cxn ang="0">
                  <a:pos x="26" y="27"/>
                </a:cxn>
                <a:cxn ang="0">
                  <a:pos x="24" y="35"/>
                </a:cxn>
                <a:cxn ang="0">
                  <a:pos x="33" y="40"/>
                </a:cxn>
                <a:cxn ang="0">
                  <a:pos x="32" y="54"/>
                </a:cxn>
                <a:cxn ang="0">
                  <a:pos x="25" y="64"/>
                </a:cxn>
                <a:cxn ang="0">
                  <a:pos x="16" y="67"/>
                </a:cxn>
                <a:cxn ang="0">
                  <a:pos x="5" y="77"/>
                </a:cxn>
                <a:cxn ang="0">
                  <a:pos x="23" y="93"/>
                </a:cxn>
                <a:cxn ang="0">
                  <a:pos x="40" y="83"/>
                </a:cxn>
                <a:cxn ang="0">
                  <a:pos x="53" y="76"/>
                </a:cxn>
                <a:cxn ang="0">
                  <a:pos x="70" y="67"/>
                </a:cxn>
                <a:cxn ang="0">
                  <a:pos x="67" y="78"/>
                </a:cxn>
                <a:cxn ang="0">
                  <a:pos x="77" y="99"/>
                </a:cxn>
                <a:cxn ang="0">
                  <a:pos x="85" y="115"/>
                </a:cxn>
                <a:cxn ang="0">
                  <a:pos x="91" y="123"/>
                </a:cxn>
                <a:cxn ang="0">
                  <a:pos x="70" y="99"/>
                </a:cxn>
                <a:cxn ang="0">
                  <a:pos x="70" y="99"/>
                </a:cxn>
                <a:cxn ang="0">
                  <a:pos x="70" y="99"/>
                </a:cxn>
              </a:cxnLst>
              <a:rect l="0" t="0" r="r" b="b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3" name="Freeform 39"/>
            <p:cNvSpPr>
              <a:spLocks/>
            </p:cNvSpPr>
            <p:nvPr/>
          </p:nvSpPr>
          <p:spPr bwMode="auto">
            <a:xfrm rot="21439583">
              <a:off x="2304712" y="3906331"/>
              <a:ext cx="814091" cy="1311220"/>
            </a:xfrm>
            <a:custGeom>
              <a:avLst/>
              <a:gdLst/>
              <a:ahLst/>
              <a:cxnLst>
                <a:cxn ang="0">
                  <a:pos x="4" y="241"/>
                </a:cxn>
                <a:cxn ang="0">
                  <a:pos x="4" y="232"/>
                </a:cxn>
                <a:cxn ang="0">
                  <a:pos x="9" y="217"/>
                </a:cxn>
                <a:cxn ang="0">
                  <a:pos x="21" y="213"/>
                </a:cxn>
                <a:cxn ang="0">
                  <a:pos x="19" y="193"/>
                </a:cxn>
                <a:cxn ang="0">
                  <a:pos x="15" y="176"/>
                </a:cxn>
                <a:cxn ang="0">
                  <a:pos x="31" y="167"/>
                </a:cxn>
                <a:cxn ang="0">
                  <a:pos x="37" y="152"/>
                </a:cxn>
                <a:cxn ang="0">
                  <a:pos x="45" y="143"/>
                </a:cxn>
                <a:cxn ang="0">
                  <a:pos x="56" y="148"/>
                </a:cxn>
                <a:cxn ang="0">
                  <a:pos x="64" y="137"/>
                </a:cxn>
                <a:cxn ang="0">
                  <a:pos x="72" y="124"/>
                </a:cxn>
                <a:cxn ang="0">
                  <a:pos x="80" y="116"/>
                </a:cxn>
                <a:cxn ang="0">
                  <a:pos x="79" y="98"/>
                </a:cxn>
                <a:cxn ang="0">
                  <a:pos x="71" y="87"/>
                </a:cxn>
                <a:cxn ang="0">
                  <a:pos x="65" y="79"/>
                </a:cxn>
                <a:cxn ang="0">
                  <a:pos x="75" y="73"/>
                </a:cxn>
                <a:cxn ang="0">
                  <a:pos x="60" y="63"/>
                </a:cxn>
                <a:cxn ang="0">
                  <a:pos x="77" y="40"/>
                </a:cxn>
                <a:cxn ang="0">
                  <a:pos x="90" y="18"/>
                </a:cxn>
                <a:cxn ang="0">
                  <a:pos x="101" y="1"/>
                </a:cxn>
                <a:cxn ang="0">
                  <a:pos x="121" y="5"/>
                </a:cxn>
                <a:cxn ang="0">
                  <a:pos x="138" y="12"/>
                </a:cxn>
                <a:cxn ang="0">
                  <a:pos x="145" y="26"/>
                </a:cxn>
                <a:cxn ang="0">
                  <a:pos x="139" y="53"/>
                </a:cxn>
                <a:cxn ang="0">
                  <a:pos x="135" y="70"/>
                </a:cxn>
                <a:cxn ang="0">
                  <a:pos x="126" y="85"/>
                </a:cxn>
                <a:cxn ang="0">
                  <a:pos x="123" y="104"/>
                </a:cxn>
                <a:cxn ang="0">
                  <a:pos x="120" y="127"/>
                </a:cxn>
                <a:cxn ang="0">
                  <a:pos x="122" y="144"/>
                </a:cxn>
                <a:cxn ang="0">
                  <a:pos x="126" y="160"/>
                </a:cxn>
                <a:cxn ang="0">
                  <a:pos x="126" y="171"/>
                </a:cxn>
                <a:cxn ang="0">
                  <a:pos x="116" y="173"/>
                </a:cxn>
                <a:cxn ang="0">
                  <a:pos x="107" y="175"/>
                </a:cxn>
                <a:cxn ang="0">
                  <a:pos x="94" y="194"/>
                </a:cxn>
                <a:cxn ang="0">
                  <a:pos x="84" y="203"/>
                </a:cxn>
                <a:cxn ang="0">
                  <a:pos x="94" y="217"/>
                </a:cxn>
                <a:cxn ang="0">
                  <a:pos x="98" y="238"/>
                </a:cxn>
                <a:cxn ang="0">
                  <a:pos x="86" y="243"/>
                </a:cxn>
                <a:cxn ang="0">
                  <a:pos x="70" y="232"/>
                </a:cxn>
                <a:cxn ang="0">
                  <a:pos x="75" y="250"/>
                </a:cxn>
                <a:cxn ang="0">
                  <a:pos x="82" y="272"/>
                </a:cxn>
                <a:cxn ang="0">
                  <a:pos x="68" y="270"/>
                </a:cxn>
                <a:cxn ang="0">
                  <a:pos x="56" y="273"/>
                </a:cxn>
                <a:cxn ang="0">
                  <a:pos x="54" y="257"/>
                </a:cxn>
                <a:cxn ang="0">
                  <a:pos x="36" y="255"/>
                </a:cxn>
                <a:cxn ang="0">
                  <a:pos x="26" y="247"/>
                </a:cxn>
                <a:cxn ang="0">
                  <a:pos x="15" y="240"/>
                </a:cxn>
              </a:cxnLst>
              <a:rect l="0" t="0" r="r" b="b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4" name="Freeform 11"/>
            <p:cNvSpPr>
              <a:spLocks/>
            </p:cNvSpPr>
            <p:nvPr/>
          </p:nvSpPr>
          <p:spPr bwMode="auto">
            <a:xfrm rot="21439583">
              <a:off x="4449147" y="1136389"/>
              <a:ext cx="1462164" cy="2828490"/>
            </a:xfrm>
            <a:custGeom>
              <a:avLst/>
              <a:gdLst/>
              <a:ahLst/>
              <a:cxnLst>
                <a:cxn ang="0">
                  <a:pos x="29" y="581"/>
                </a:cxn>
                <a:cxn ang="0">
                  <a:pos x="45" y="592"/>
                </a:cxn>
                <a:cxn ang="0">
                  <a:pos x="64" y="557"/>
                </a:cxn>
                <a:cxn ang="0">
                  <a:pos x="106" y="544"/>
                </a:cxn>
                <a:cxn ang="0">
                  <a:pos x="128" y="538"/>
                </a:cxn>
                <a:cxn ang="0">
                  <a:pos x="134" y="509"/>
                </a:cxn>
                <a:cxn ang="0">
                  <a:pos x="157" y="494"/>
                </a:cxn>
                <a:cxn ang="0">
                  <a:pos x="169" y="522"/>
                </a:cxn>
                <a:cxn ang="0">
                  <a:pos x="184" y="518"/>
                </a:cxn>
                <a:cxn ang="0">
                  <a:pos x="194" y="491"/>
                </a:cxn>
                <a:cxn ang="0">
                  <a:pos x="221" y="472"/>
                </a:cxn>
                <a:cxn ang="0">
                  <a:pos x="224" y="444"/>
                </a:cxn>
                <a:cxn ang="0">
                  <a:pos x="222" y="413"/>
                </a:cxn>
                <a:cxn ang="0">
                  <a:pos x="231" y="389"/>
                </a:cxn>
                <a:cxn ang="0">
                  <a:pos x="237" y="352"/>
                </a:cxn>
                <a:cxn ang="0">
                  <a:pos x="246" y="319"/>
                </a:cxn>
                <a:cxn ang="0">
                  <a:pos x="257" y="289"/>
                </a:cxn>
                <a:cxn ang="0">
                  <a:pos x="255" y="268"/>
                </a:cxn>
                <a:cxn ang="0">
                  <a:pos x="242" y="265"/>
                </a:cxn>
                <a:cxn ang="0">
                  <a:pos x="228" y="243"/>
                </a:cxn>
                <a:cxn ang="0">
                  <a:pos x="215" y="218"/>
                </a:cxn>
                <a:cxn ang="0">
                  <a:pos x="222" y="199"/>
                </a:cxn>
                <a:cxn ang="0">
                  <a:pos x="229" y="170"/>
                </a:cxn>
                <a:cxn ang="0">
                  <a:pos x="213" y="167"/>
                </a:cxn>
                <a:cxn ang="0">
                  <a:pos x="201" y="146"/>
                </a:cxn>
                <a:cxn ang="0">
                  <a:pos x="211" y="131"/>
                </a:cxn>
                <a:cxn ang="0">
                  <a:pos x="203" y="103"/>
                </a:cxn>
                <a:cxn ang="0">
                  <a:pos x="192" y="74"/>
                </a:cxn>
                <a:cxn ang="0">
                  <a:pos x="149" y="62"/>
                </a:cxn>
                <a:cxn ang="0">
                  <a:pos x="157" y="42"/>
                </a:cxn>
                <a:cxn ang="0">
                  <a:pos x="166" y="31"/>
                </a:cxn>
                <a:cxn ang="0">
                  <a:pos x="159" y="7"/>
                </a:cxn>
                <a:cxn ang="0">
                  <a:pos x="147" y="14"/>
                </a:cxn>
                <a:cxn ang="0">
                  <a:pos x="126" y="30"/>
                </a:cxn>
                <a:cxn ang="0">
                  <a:pos x="107" y="40"/>
                </a:cxn>
                <a:cxn ang="0">
                  <a:pos x="89" y="45"/>
                </a:cxn>
                <a:cxn ang="0">
                  <a:pos x="86" y="76"/>
                </a:cxn>
                <a:cxn ang="0">
                  <a:pos x="82" y="90"/>
                </a:cxn>
                <a:cxn ang="0">
                  <a:pos x="70" y="123"/>
                </a:cxn>
                <a:cxn ang="0">
                  <a:pos x="83" y="144"/>
                </a:cxn>
                <a:cxn ang="0">
                  <a:pos x="98" y="163"/>
                </a:cxn>
                <a:cxn ang="0">
                  <a:pos x="79" y="204"/>
                </a:cxn>
                <a:cxn ang="0">
                  <a:pos x="65" y="220"/>
                </a:cxn>
                <a:cxn ang="0">
                  <a:pos x="64" y="239"/>
                </a:cxn>
                <a:cxn ang="0">
                  <a:pos x="38" y="248"/>
                </a:cxn>
                <a:cxn ang="0">
                  <a:pos x="15" y="263"/>
                </a:cxn>
                <a:cxn ang="0">
                  <a:pos x="18" y="289"/>
                </a:cxn>
                <a:cxn ang="0">
                  <a:pos x="0" y="315"/>
                </a:cxn>
                <a:cxn ang="0">
                  <a:pos x="6" y="346"/>
                </a:cxn>
                <a:cxn ang="0">
                  <a:pos x="45" y="368"/>
                </a:cxn>
                <a:cxn ang="0">
                  <a:pos x="40" y="392"/>
                </a:cxn>
                <a:cxn ang="0">
                  <a:pos x="22" y="405"/>
                </a:cxn>
                <a:cxn ang="0">
                  <a:pos x="33" y="433"/>
                </a:cxn>
                <a:cxn ang="0">
                  <a:pos x="36" y="468"/>
                </a:cxn>
                <a:cxn ang="0">
                  <a:pos x="16" y="493"/>
                </a:cxn>
                <a:cxn ang="0">
                  <a:pos x="5" y="508"/>
                </a:cxn>
                <a:cxn ang="0">
                  <a:pos x="13" y="523"/>
                </a:cxn>
                <a:cxn ang="0">
                  <a:pos x="9" y="554"/>
                </a:cxn>
                <a:cxn ang="0">
                  <a:pos x="8" y="572"/>
                </a:cxn>
              </a:cxnLst>
              <a:rect l="0" t="0" r="r" b="b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8" name="Freeform 31"/>
            <p:cNvSpPr>
              <a:spLocks noEditPoints="1"/>
            </p:cNvSpPr>
            <p:nvPr/>
          </p:nvSpPr>
          <p:spPr bwMode="auto">
            <a:xfrm rot="21439583">
              <a:off x="4403944" y="4657553"/>
              <a:ext cx="832093" cy="926369"/>
            </a:xfrm>
            <a:custGeom>
              <a:avLst/>
              <a:gdLst/>
              <a:ahLst/>
              <a:cxnLst>
                <a:cxn ang="0">
                  <a:pos x="69" y="21"/>
                </a:cxn>
                <a:cxn ang="0">
                  <a:pos x="79" y="17"/>
                </a:cxn>
                <a:cxn ang="0">
                  <a:pos x="92" y="22"/>
                </a:cxn>
                <a:cxn ang="0">
                  <a:pos x="109" y="13"/>
                </a:cxn>
                <a:cxn ang="0">
                  <a:pos x="137" y="12"/>
                </a:cxn>
                <a:cxn ang="0">
                  <a:pos x="144" y="26"/>
                </a:cxn>
                <a:cxn ang="0">
                  <a:pos x="148" y="33"/>
                </a:cxn>
                <a:cxn ang="0">
                  <a:pos x="144" y="39"/>
                </a:cxn>
                <a:cxn ang="0">
                  <a:pos x="140" y="56"/>
                </a:cxn>
                <a:cxn ang="0">
                  <a:pos x="142" y="65"/>
                </a:cxn>
                <a:cxn ang="0">
                  <a:pos x="143" y="79"/>
                </a:cxn>
                <a:cxn ang="0">
                  <a:pos x="138" y="91"/>
                </a:cxn>
                <a:cxn ang="0">
                  <a:pos x="131" y="94"/>
                </a:cxn>
                <a:cxn ang="0">
                  <a:pos x="116" y="99"/>
                </a:cxn>
                <a:cxn ang="0">
                  <a:pos x="107" y="114"/>
                </a:cxn>
                <a:cxn ang="0">
                  <a:pos x="105" y="124"/>
                </a:cxn>
                <a:cxn ang="0">
                  <a:pos x="99" y="132"/>
                </a:cxn>
                <a:cxn ang="0">
                  <a:pos x="89" y="126"/>
                </a:cxn>
                <a:cxn ang="0">
                  <a:pos x="80" y="133"/>
                </a:cxn>
                <a:cxn ang="0">
                  <a:pos x="70" y="149"/>
                </a:cxn>
                <a:cxn ang="0">
                  <a:pos x="56" y="155"/>
                </a:cxn>
                <a:cxn ang="0">
                  <a:pos x="51" y="170"/>
                </a:cxn>
                <a:cxn ang="0">
                  <a:pos x="58" y="187"/>
                </a:cxn>
                <a:cxn ang="0">
                  <a:pos x="40" y="188"/>
                </a:cxn>
                <a:cxn ang="0">
                  <a:pos x="26" y="195"/>
                </a:cxn>
                <a:cxn ang="0">
                  <a:pos x="19" y="171"/>
                </a:cxn>
                <a:cxn ang="0">
                  <a:pos x="11" y="151"/>
                </a:cxn>
                <a:cxn ang="0">
                  <a:pos x="1" y="126"/>
                </a:cxn>
                <a:cxn ang="0">
                  <a:pos x="6" y="106"/>
                </a:cxn>
                <a:cxn ang="0">
                  <a:pos x="13" y="90"/>
                </a:cxn>
                <a:cxn ang="0">
                  <a:pos x="24" y="74"/>
                </a:cxn>
                <a:cxn ang="0">
                  <a:pos x="30" y="61"/>
                </a:cxn>
                <a:cxn ang="0">
                  <a:pos x="49" y="58"/>
                </a:cxn>
                <a:cxn ang="0">
                  <a:pos x="56" y="33"/>
                </a:cxn>
                <a:cxn ang="0">
                  <a:pos x="56" y="18"/>
                </a:cxn>
                <a:cxn ang="0">
                  <a:pos x="18" y="170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3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1" name="Freeform 30"/>
            <p:cNvSpPr>
              <a:spLocks/>
            </p:cNvSpPr>
            <p:nvPr/>
          </p:nvSpPr>
          <p:spPr bwMode="auto">
            <a:xfrm rot="21439583">
              <a:off x="5140641" y="3925140"/>
              <a:ext cx="888099" cy="1265243"/>
            </a:xfrm>
            <a:custGeom>
              <a:avLst/>
              <a:gdLst/>
              <a:ahLst/>
              <a:cxnLst>
                <a:cxn ang="0">
                  <a:pos x="151" y="77"/>
                </a:cxn>
                <a:cxn ang="0">
                  <a:pos x="130" y="81"/>
                </a:cxn>
                <a:cxn ang="0">
                  <a:pos x="115" y="86"/>
                </a:cxn>
                <a:cxn ang="0">
                  <a:pos x="99" y="93"/>
                </a:cxn>
                <a:cxn ang="0">
                  <a:pos x="94" y="107"/>
                </a:cxn>
                <a:cxn ang="0">
                  <a:pos x="101" y="125"/>
                </a:cxn>
                <a:cxn ang="0">
                  <a:pos x="114" y="135"/>
                </a:cxn>
                <a:cxn ang="0">
                  <a:pos x="110" y="154"/>
                </a:cxn>
                <a:cxn ang="0">
                  <a:pos x="103" y="175"/>
                </a:cxn>
                <a:cxn ang="0">
                  <a:pos x="102" y="206"/>
                </a:cxn>
                <a:cxn ang="0">
                  <a:pos x="108" y="231"/>
                </a:cxn>
                <a:cxn ang="0">
                  <a:pos x="108" y="243"/>
                </a:cxn>
                <a:cxn ang="0">
                  <a:pos x="107" y="266"/>
                </a:cxn>
                <a:cxn ang="0">
                  <a:pos x="94" y="257"/>
                </a:cxn>
                <a:cxn ang="0">
                  <a:pos x="82" y="239"/>
                </a:cxn>
                <a:cxn ang="0">
                  <a:pos x="68" y="239"/>
                </a:cxn>
                <a:cxn ang="0">
                  <a:pos x="58" y="244"/>
                </a:cxn>
                <a:cxn ang="0">
                  <a:pos x="45" y="237"/>
                </a:cxn>
                <a:cxn ang="0">
                  <a:pos x="36" y="244"/>
                </a:cxn>
                <a:cxn ang="0">
                  <a:pos x="19" y="246"/>
                </a:cxn>
                <a:cxn ang="0">
                  <a:pos x="4" y="244"/>
                </a:cxn>
                <a:cxn ang="0">
                  <a:pos x="1" y="229"/>
                </a:cxn>
                <a:cxn ang="0">
                  <a:pos x="8" y="220"/>
                </a:cxn>
                <a:cxn ang="0">
                  <a:pos x="1" y="209"/>
                </a:cxn>
                <a:cxn ang="0">
                  <a:pos x="7" y="199"/>
                </a:cxn>
                <a:cxn ang="0">
                  <a:pos x="11" y="185"/>
                </a:cxn>
                <a:cxn ang="0">
                  <a:pos x="7" y="179"/>
                </a:cxn>
                <a:cxn ang="0">
                  <a:pos x="5" y="166"/>
                </a:cxn>
                <a:cxn ang="0">
                  <a:pos x="5" y="159"/>
                </a:cxn>
                <a:cxn ang="0">
                  <a:pos x="13" y="142"/>
                </a:cxn>
                <a:cxn ang="0">
                  <a:pos x="17" y="117"/>
                </a:cxn>
                <a:cxn ang="0">
                  <a:pos x="26" y="87"/>
                </a:cxn>
                <a:cxn ang="0">
                  <a:pos x="28" y="76"/>
                </a:cxn>
                <a:cxn ang="0">
                  <a:pos x="23" y="71"/>
                </a:cxn>
                <a:cxn ang="0">
                  <a:pos x="47" y="53"/>
                </a:cxn>
                <a:cxn ang="0">
                  <a:pos x="61" y="46"/>
                </a:cxn>
                <a:cxn ang="0">
                  <a:pos x="76" y="14"/>
                </a:cxn>
                <a:cxn ang="0">
                  <a:pos x="103" y="11"/>
                </a:cxn>
                <a:cxn ang="0">
                  <a:pos x="112" y="46"/>
                </a:cxn>
                <a:cxn ang="0">
                  <a:pos x="130" y="51"/>
                </a:cxn>
                <a:cxn ang="0">
                  <a:pos x="156" y="63"/>
                </a:cxn>
              </a:cxnLst>
              <a:rect l="0" t="0" r="r" b="b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2" name="Freeform 28"/>
            <p:cNvSpPr>
              <a:spLocks noEditPoints="1"/>
            </p:cNvSpPr>
            <p:nvPr/>
          </p:nvSpPr>
          <p:spPr bwMode="auto">
            <a:xfrm rot="21439583">
              <a:off x="4551519" y="5058292"/>
              <a:ext cx="1228136" cy="732240"/>
            </a:xfrm>
            <a:custGeom>
              <a:avLst/>
              <a:gdLst/>
              <a:ahLst/>
              <a:cxnLst>
                <a:cxn ang="0">
                  <a:pos x="16" y="101"/>
                </a:cxn>
                <a:cxn ang="0">
                  <a:pos x="34" y="100"/>
                </a:cxn>
                <a:cxn ang="0">
                  <a:pos x="27" y="83"/>
                </a:cxn>
                <a:cxn ang="0">
                  <a:pos x="32" y="68"/>
                </a:cxn>
                <a:cxn ang="0">
                  <a:pos x="46" y="62"/>
                </a:cxn>
                <a:cxn ang="0">
                  <a:pos x="56" y="46"/>
                </a:cxn>
                <a:cxn ang="0">
                  <a:pos x="65" y="39"/>
                </a:cxn>
                <a:cxn ang="0">
                  <a:pos x="75" y="45"/>
                </a:cxn>
                <a:cxn ang="0">
                  <a:pos x="81" y="37"/>
                </a:cxn>
                <a:cxn ang="0">
                  <a:pos x="83" y="27"/>
                </a:cxn>
                <a:cxn ang="0">
                  <a:pos x="92" y="12"/>
                </a:cxn>
                <a:cxn ang="0">
                  <a:pos x="107" y="7"/>
                </a:cxn>
                <a:cxn ang="0">
                  <a:pos x="117" y="9"/>
                </a:cxn>
                <a:cxn ang="0">
                  <a:pos x="132" y="11"/>
                </a:cxn>
                <a:cxn ang="0">
                  <a:pos x="149" y="9"/>
                </a:cxn>
                <a:cxn ang="0">
                  <a:pos x="158" y="2"/>
                </a:cxn>
                <a:cxn ang="0">
                  <a:pos x="171" y="9"/>
                </a:cxn>
                <a:cxn ang="0">
                  <a:pos x="181" y="4"/>
                </a:cxn>
                <a:cxn ang="0">
                  <a:pos x="195" y="4"/>
                </a:cxn>
                <a:cxn ang="0">
                  <a:pos x="207" y="22"/>
                </a:cxn>
                <a:cxn ang="0">
                  <a:pos x="220" y="31"/>
                </a:cxn>
                <a:cxn ang="0">
                  <a:pos x="211" y="37"/>
                </a:cxn>
                <a:cxn ang="0">
                  <a:pos x="208" y="59"/>
                </a:cxn>
                <a:cxn ang="0">
                  <a:pos x="199" y="77"/>
                </a:cxn>
                <a:cxn ang="0">
                  <a:pos x="192" y="89"/>
                </a:cxn>
                <a:cxn ang="0">
                  <a:pos x="180" y="98"/>
                </a:cxn>
                <a:cxn ang="0">
                  <a:pos x="163" y="110"/>
                </a:cxn>
                <a:cxn ang="0">
                  <a:pos x="157" y="133"/>
                </a:cxn>
                <a:cxn ang="0">
                  <a:pos x="148" y="137"/>
                </a:cxn>
                <a:cxn ang="0">
                  <a:pos x="140" y="143"/>
                </a:cxn>
                <a:cxn ang="0">
                  <a:pos x="130" y="136"/>
                </a:cxn>
                <a:cxn ang="0">
                  <a:pos x="114" y="149"/>
                </a:cxn>
                <a:cxn ang="0">
                  <a:pos x="101" y="154"/>
                </a:cxn>
                <a:cxn ang="0">
                  <a:pos x="85" y="149"/>
                </a:cxn>
                <a:cxn ang="0">
                  <a:pos x="81" y="139"/>
                </a:cxn>
                <a:cxn ang="0">
                  <a:pos x="72" y="142"/>
                </a:cxn>
                <a:cxn ang="0">
                  <a:pos x="74" y="129"/>
                </a:cxn>
                <a:cxn ang="0">
                  <a:pos x="65" y="122"/>
                </a:cxn>
                <a:cxn ang="0">
                  <a:pos x="66" y="132"/>
                </a:cxn>
                <a:cxn ang="0">
                  <a:pos x="60" y="142"/>
                </a:cxn>
                <a:cxn ang="0">
                  <a:pos x="46" y="135"/>
                </a:cxn>
                <a:cxn ang="0">
                  <a:pos x="33" y="142"/>
                </a:cxn>
                <a:cxn ang="0">
                  <a:pos x="18" y="132"/>
                </a:cxn>
                <a:cxn ang="0">
                  <a:pos x="1" y="117"/>
                </a:cxn>
                <a:cxn ang="0">
                  <a:pos x="114" y="4"/>
                </a:cxn>
                <a:cxn ang="0">
                  <a:pos x="114" y="4"/>
                </a:cxn>
                <a:cxn ang="0">
                  <a:pos x="114" y="5"/>
                </a:cxn>
              </a:cxnLst>
              <a:rect l="0" t="0" r="r" b="b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3" name="Freeform 17"/>
            <p:cNvSpPr>
              <a:spLocks/>
            </p:cNvSpPr>
            <p:nvPr/>
          </p:nvSpPr>
          <p:spPr bwMode="auto">
            <a:xfrm rot="21439583">
              <a:off x="4205241" y="6107695"/>
              <a:ext cx="292032" cy="146448"/>
            </a:xfrm>
            <a:custGeom>
              <a:avLst/>
              <a:gdLst/>
              <a:ahLst/>
              <a:cxnLst>
                <a:cxn ang="0">
                  <a:pos x="20" y="31"/>
                </a:cxn>
                <a:cxn ang="0">
                  <a:pos x="27" y="28"/>
                </a:cxn>
                <a:cxn ang="0">
                  <a:pos x="34" y="21"/>
                </a:cxn>
                <a:cxn ang="0">
                  <a:pos x="51" y="16"/>
                </a:cxn>
                <a:cxn ang="0">
                  <a:pos x="36" y="0"/>
                </a:cxn>
                <a:cxn ang="0">
                  <a:pos x="30" y="10"/>
                </a:cxn>
                <a:cxn ang="0">
                  <a:pos x="23" y="12"/>
                </a:cxn>
                <a:cxn ang="0">
                  <a:pos x="14" y="15"/>
                </a:cxn>
                <a:cxn ang="0">
                  <a:pos x="5" y="19"/>
                </a:cxn>
                <a:cxn ang="0">
                  <a:pos x="3" y="25"/>
                </a:cxn>
                <a:cxn ang="0">
                  <a:pos x="20" y="25"/>
                </a:cxn>
                <a:cxn ang="0">
                  <a:pos x="20" y="31"/>
                </a:cxn>
              </a:cxnLst>
              <a:rect l="0" t="0" r="r" b="b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4" name="Freeform 22"/>
            <p:cNvSpPr>
              <a:spLocks/>
            </p:cNvSpPr>
            <p:nvPr/>
          </p:nvSpPr>
          <p:spPr bwMode="auto">
            <a:xfrm rot="21439583">
              <a:off x="4012980" y="3893632"/>
              <a:ext cx="682076" cy="88379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95" y="46"/>
                </a:cxn>
                <a:cxn ang="0">
                  <a:pos x="93" y="68"/>
                </a:cxn>
                <a:cxn ang="0">
                  <a:pos x="96" y="88"/>
                </a:cxn>
                <a:cxn ang="0">
                  <a:pos x="107" y="108"/>
                </a:cxn>
                <a:cxn ang="0">
                  <a:pos x="111" y="130"/>
                </a:cxn>
                <a:cxn ang="0">
                  <a:pos x="112" y="146"/>
                </a:cxn>
                <a:cxn ang="0">
                  <a:pos x="115" y="162"/>
                </a:cxn>
                <a:cxn ang="0">
                  <a:pos x="120" y="183"/>
                </a:cxn>
                <a:cxn ang="0">
                  <a:pos x="104" y="178"/>
                </a:cxn>
                <a:cxn ang="0">
                  <a:pos x="109" y="165"/>
                </a:cxn>
                <a:cxn ang="0">
                  <a:pos x="97" y="155"/>
                </a:cxn>
                <a:cxn ang="0">
                  <a:pos x="88" y="145"/>
                </a:cxn>
                <a:cxn ang="0">
                  <a:pos x="77" y="153"/>
                </a:cxn>
                <a:cxn ang="0">
                  <a:pos x="49" y="139"/>
                </a:cxn>
                <a:cxn ang="0">
                  <a:pos x="37" y="133"/>
                </a:cxn>
                <a:cxn ang="0">
                  <a:pos x="27" y="148"/>
                </a:cxn>
                <a:cxn ang="0">
                  <a:pos x="7" y="147"/>
                </a:cxn>
                <a:cxn ang="0">
                  <a:pos x="10" y="115"/>
                </a:cxn>
                <a:cxn ang="0">
                  <a:pos x="2" y="101"/>
                </a:cxn>
                <a:cxn ang="0">
                  <a:pos x="3" y="82"/>
                </a:cxn>
                <a:cxn ang="0">
                  <a:pos x="9" y="70"/>
                </a:cxn>
                <a:cxn ang="0">
                  <a:pos x="9" y="54"/>
                </a:cxn>
                <a:cxn ang="0">
                  <a:pos x="11" y="44"/>
                </a:cxn>
                <a:cxn ang="0">
                  <a:pos x="1" y="31"/>
                </a:cxn>
                <a:cxn ang="0">
                  <a:pos x="6" y="17"/>
                </a:cxn>
                <a:cxn ang="0">
                  <a:pos x="16" y="26"/>
                </a:cxn>
                <a:cxn ang="0">
                  <a:pos x="27" y="40"/>
                </a:cxn>
                <a:cxn ang="0">
                  <a:pos x="39" y="28"/>
                </a:cxn>
                <a:cxn ang="0">
                  <a:pos x="53" y="16"/>
                </a:cxn>
                <a:cxn ang="0">
                  <a:pos x="64" y="3"/>
                </a:cxn>
                <a:cxn ang="0">
                  <a:pos x="78" y="13"/>
                </a:cxn>
              </a:cxnLst>
              <a:rect l="0" t="0" r="r" b="b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5" name="Freeform 10"/>
            <p:cNvSpPr>
              <a:spLocks noEditPoints="1"/>
            </p:cNvSpPr>
            <p:nvPr/>
          </p:nvSpPr>
          <p:spPr bwMode="auto">
            <a:xfrm rot="21439583">
              <a:off x="3442545" y="3294429"/>
              <a:ext cx="1168131" cy="1103469"/>
            </a:xfrm>
            <a:custGeom>
              <a:avLst/>
              <a:gdLst/>
              <a:ahLst/>
              <a:cxnLst>
                <a:cxn ang="0">
                  <a:pos x="194" y="133"/>
                </a:cxn>
                <a:cxn ang="0">
                  <a:pos x="187" y="148"/>
                </a:cxn>
                <a:cxn ang="0">
                  <a:pos x="175" y="142"/>
                </a:cxn>
                <a:cxn ang="0">
                  <a:pos x="161" y="132"/>
                </a:cxn>
                <a:cxn ang="0">
                  <a:pos x="150" y="145"/>
                </a:cxn>
                <a:cxn ang="0">
                  <a:pos x="136" y="157"/>
                </a:cxn>
                <a:cxn ang="0">
                  <a:pos x="124" y="169"/>
                </a:cxn>
                <a:cxn ang="0">
                  <a:pos x="113" y="155"/>
                </a:cxn>
                <a:cxn ang="0">
                  <a:pos x="103" y="146"/>
                </a:cxn>
                <a:cxn ang="0">
                  <a:pos x="98" y="160"/>
                </a:cxn>
                <a:cxn ang="0">
                  <a:pos x="108" y="173"/>
                </a:cxn>
                <a:cxn ang="0">
                  <a:pos x="106" y="183"/>
                </a:cxn>
                <a:cxn ang="0">
                  <a:pos x="106" y="199"/>
                </a:cxn>
                <a:cxn ang="0">
                  <a:pos x="100" y="211"/>
                </a:cxn>
                <a:cxn ang="0">
                  <a:pos x="80" y="227"/>
                </a:cxn>
                <a:cxn ang="0">
                  <a:pos x="57" y="214"/>
                </a:cxn>
                <a:cxn ang="0">
                  <a:pos x="38" y="216"/>
                </a:cxn>
                <a:cxn ang="0">
                  <a:pos x="14" y="212"/>
                </a:cxn>
                <a:cxn ang="0">
                  <a:pos x="2" y="210"/>
                </a:cxn>
                <a:cxn ang="0">
                  <a:pos x="14" y="192"/>
                </a:cxn>
                <a:cxn ang="0">
                  <a:pos x="11" y="176"/>
                </a:cxn>
                <a:cxn ang="0">
                  <a:pos x="15" y="163"/>
                </a:cxn>
                <a:cxn ang="0">
                  <a:pos x="25" y="160"/>
                </a:cxn>
                <a:cxn ang="0">
                  <a:pos x="20" y="148"/>
                </a:cxn>
                <a:cxn ang="0">
                  <a:pos x="27" y="122"/>
                </a:cxn>
                <a:cxn ang="0">
                  <a:pos x="35" y="101"/>
                </a:cxn>
                <a:cxn ang="0">
                  <a:pos x="53" y="93"/>
                </a:cxn>
                <a:cxn ang="0">
                  <a:pos x="67" y="75"/>
                </a:cxn>
                <a:cxn ang="0">
                  <a:pos x="83" y="71"/>
                </a:cxn>
                <a:cxn ang="0">
                  <a:pos x="95" y="58"/>
                </a:cxn>
                <a:cxn ang="0">
                  <a:pos x="106" y="49"/>
                </a:cxn>
                <a:cxn ang="0">
                  <a:pos x="97" y="30"/>
                </a:cxn>
                <a:cxn ang="0">
                  <a:pos x="103" y="12"/>
                </a:cxn>
                <a:cxn ang="0">
                  <a:pos x="122" y="2"/>
                </a:cxn>
                <a:cxn ang="0">
                  <a:pos x="130" y="6"/>
                </a:cxn>
                <a:cxn ang="0">
                  <a:pos x="139" y="22"/>
                </a:cxn>
                <a:cxn ang="0">
                  <a:pos x="148" y="31"/>
                </a:cxn>
                <a:cxn ang="0">
                  <a:pos x="165" y="40"/>
                </a:cxn>
                <a:cxn ang="0">
                  <a:pos x="170" y="51"/>
                </a:cxn>
                <a:cxn ang="0">
                  <a:pos x="188" y="52"/>
                </a:cxn>
                <a:cxn ang="0">
                  <a:pos x="196" y="65"/>
                </a:cxn>
                <a:cxn ang="0">
                  <a:pos x="198" y="73"/>
                </a:cxn>
                <a:cxn ang="0">
                  <a:pos x="208" y="85"/>
                </a:cxn>
                <a:cxn ang="0">
                  <a:pos x="202" y="110"/>
                </a:cxn>
                <a:cxn ang="0">
                  <a:pos x="201" y="122"/>
                </a:cxn>
                <a:cxn ang="0">
                  <a:pos x="207" y="129"/>
                </a:cxn>
                <a:cxn ang="0">
                  <a:pos x="197" y="65"/>
                </a:cxn>
                <a:cxn ang="0">
                  <a:pos x="197" y="65"/>
                </a:cxn>
                <a:cxn ang="0">
                  <a:pos x="197" y="65"/>
                </a:cxn>
              </a:cxnLst>
              <a:rect l="0" t="0" r="r" b="b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6" name="Freeform 23"/>
            <p:cNvSpPr>
              <a:spLocks noEditPoints="1"/>
            </p:cNvSpPr>
            <p:nvPr/>
          </p:nvSpPr>
          <p:spPr bwMode="auto">
            <a:xfrm rot="21439583">
              <a:off x="3245095" y="4307373"/>
              <a:ext cx="1026113" cy="822492"/>
            </a:xfrm>
            <a:custGeom>
              <a:avLst/>
              <a:gdLst/>
              <a:ahLst/>
              <a:cxnLst>
                <a:cxn ang="0">
                  <a:pos x="151" y="33"/>
                </a:cxn>
                <a:cxn ang="0">
                  <a:pos x="157" y="70"/>
                </a:cxn>
                <a:cxn ang="0">
                  <a:pos x="182" y="86"/>
                </a:cxn>
                <a:cxn ang="0">
                  <a:pos x="182" y="120"/>
                </a:cxn>
                <a:cxn ang="0">
                  <a:pos x="152" y="142"/>
                </a:cxn>
                <a:cxn ang="0">
                  <a:pos x="144" y="144"/>
                </a:cxn>
                <a:cxn ang="0">
                  <a:pos x="132" y="171"/>
                </a:cxn>
                <a:cxn ang="0">
                  <a:pos x="111" y="150"/>
                </a:cxn>
                <a:cxn ang="0">
                  <a:pos x="82" y="160"/>
                </a:cxn>
                <a:cxn ang="0">
                  <a:pos x="61" y="164"/>
                </a:cxn>
                <a:cxn ang="0">
                  <a:pos x="4" y="157"/>
                </a:cxn>
                <a:cxn ang="0">
                  <a:pos x="16" y="132"/>
                </a:cxn>
                <a:cxn ang="0">
                  <a:pos x="19" y="102"/>
                </a:cxn>
                <a:cxn ang="0">
                  <a:pos x="47" y="93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9" y="55"/>
                </a:cxn>
                <a:cxn ang="0">
                  <a:pos x="34" y="46"/>
                </a:cxn>
                <a:cxn ang="0">
                  <a:pos x="22" y="17"/>
                </a:cxn>
                <a:cxn ang="0">
                  <a:pos x="46" y="2"/>
                </a:cxn>
                <a:cxn ang="0">
                  <a:pos x="58" y="1"/>
                </a:cxn>
                <a:cxn ang="0">
                  <a:pos x="91" y="0"/>
                </a:cxn>
                <a:cxn ang="0">
                  <a:pos x="124" y="16"/>
                </a:cxn>
                <a:cxn ang="0">
                  <a:pos x="1" y="112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</a:cxnLst>
              <a:rect l="0" t="0" r="r" b="b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lnTo>
                    <a:pt x="46" y="2"/>
                  </a:ln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98" name="Параллелограмм 97"/>
          <p:cNvSpPr/>
          <p:nvPr/>
        </p:nvSpPr>
        <p:spPr>
          <a:xfrm>
            <a:off x="5219700" y="66527"/>
            <a:ext cx="3924300" cy="288925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4" name="Параллелограмм 103"/>
          <p:cNvSpPr/>
          <p:nvPr/>
        </p:nvSpPr>
        <p:spPr>
          <a:xfrm>
            <a:off x="1368425" y="66527"/>
            <a:ext cx="3924300" cy="288925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112" name="Прямая соединительная линия 111"/>
          <p:cNvCxnSpPr/>
          <p:nvPr/>
        </p:nvCxnSpPr>
        <p:spPr>
          <a:xfrm>
            <a:off x="250825" y="404664"/>
            <a:ext cx="8785225" cy="0"/>
          </a:xfrm>
          <a:prstGeom prst="line">
            <a:avLst/>
          </a:prstGeom>
          <a:ln w="158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25"/>
          <p:cNvSpPr txBox="1">
            <a:spLocks noChangeArrowheads="1"/>
          </p:cNvSpPr>
          <p:nvPr/>
        </p:nvSpPr>
        <p:spPr bwMode="auto">
          <a:xfrm>
            <a:off x="-255902" y="44624"/>
            <a:ext cx="8788342" cy="31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72" tIns="34286" rIns="68572" bIns="34286">
            <a:spAutoFit/>
          </a:bodyPr>
          <a:lstStyle/>
          <a:p>
            <a:pPr lvl="1"/>
            <a:r>
              <a:rPr lang="ru-RU" sz="1600" b="1" dirty="0" smtClean="0"/>
              <a:t>РЕЗУЛЬТАТЫ РЕАЛИЗАЦИИ КОМПЛЕКСНОГО ПЛАНА</a:t>
            </a:r>
            <a:endParaRPr lang="ru-RU" sz="1600" b="1" dirty="0"/>
          </a:p>
        </p:txBody>
      </p:sp>
      <p:sp>
        <p:nvSpPr>
          <p:cNvPr id="128" name="Содержимое 8"/>
          <p:cNvSpPr txBox="1">
            <a:spLocks/>
          </p:cNvSpPr>
          <p:nvPr/>
        </p:nvSpPr>
        <p:spPr bwMode="auto">
          <a:xfrm>
            <a:off x="539552" y="873874"/>
            <a:ext cx="7992888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287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400">
                <a:solidFill>
                  <a:schemeClr val="tx1"/>
                </a:solidFill>
                <a:latin typeface="+mn-lt"/>
              </a:defRPr>
            </a:lvl2pPr>
            <a:lvl3pPr marL="295275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431800" indent="-134938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582613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5pPr>
            <a:lvl6pPr marL="10398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6pPr>
            <a:lvl7pPr marL="14970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7pPr>
            <a:lvl8pPr marL="19542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8pPr>
            <a:lvl9pPr marL="24114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None/>
            </a:pP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Ответственными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ИОГВ </a:t>
            </a:r>
            <a:r>
              <a:rPr lang="ru-RU" sz="1600" b="1" kern="0" dirty="0">
                <a:solidFill>
                  <a:srgbClr val="000000"/>
                </a:solidFill>
                <a:latin typeface="Arial"/>
              </a:rPr>
              <a:t>обеспечено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1600" b="1" kern="0" dirty="0">
                <a:solidFill>
                  <a:srgbClr val="000000"/>
                </a:solidFill>
                <a:latin typeface="Arial"/>
              </a:rPr>
              <a:t>внесение изменений в НПА, устанавливающие возможность доступа СОНКО к предоставлению услуг в социальной сфере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(в </a:t>
            </a:r>
            <a:r>
              <a:rPr lang="ru-RU" sz="1600" kern="0" dirty="0" err="1">
                <a:solidFill>
                  <a:srgbClr val="000000"/>
                </a:solidFill>
                <a:latin typeface="Arial"/>
              </a:rPr>
              <a:t>т.ч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в государственные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программы, порядки по представлению субсидий, НПА в рамках 442-ФЗ и др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.)</a:t>
            </a:r>
            <a:r>
              <a:rPr lang="ru-RU" sz="1600" b="1" kern="0" dirty="0" smtClean="0">
                <a:solidFill>
                  <a:srgbClr val="000000"/>
                </a:solidFill>
                <a:latin typeface="Arial"/>
              </a:rPr>
              <a:t>;</a:t>
            </a:r>
            <a:r>
              <a:rPr kumimoji="0" lang="ru-RU" sz="1600" b="1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rPr>
              <a:t> </a:t>
            </a:r>
            <a:endParaRPr kumimoji="0" lang="ru-RU" sz="1600" b="1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79" name="Содержимое 8"/>
          <p:cNvSpPr txBox="1">
            <a:spLocks/>
          </p:cNvSpPr>
          <p:nvPr/>
        </p:nvSpPr>
        <p:spPr bwMode="auto">
          <a:xfrm>
            <a:off x="539551" y="2316355"/>
            <a:ext cx="4753173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463" indent="-14287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400">
                <a:solidFill>
                  <a:schemeClr val="tx1"/>
                </a:solidFill>
                <a:latin typeface="+mn-lt"/>
              </a:defRPr>
            </a:lvl2pPr>
            <a:lvl3pPr marL="295275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431800" indent="-134938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  <a:defRPr sz="1800">
                <a:solidFill>
                  <a:schemeClr val="tx1"/>
                </a:solidFill>
                <a:latin typeface="+mn-lt"/>
              </a:defRPr>
            </a:lvl4pPr>
            <a:lvl5pPr marL="582613" indent="-149225" algn="l" defTabSz="895350" rtl="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5pPr>
            <a:lvl6pPr marL="10398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6pPr>
            <a:lvl7pPr marL="14970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7pPr>
            <a:lvl8pPr marL="19542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8pPr>
            <a:lvl9pPr marL="2411413" indent="-149225" algn="l" defTabSz="895350" rtl="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buNone/>
            </a:pPr>
            <a:r>
              <a:rPr lang="ru-RU" sz="1600" kern="0" dirty="0">
                <a:solidFill>
                  <a:srgbClr val="000000"/>
                </a:solidFill>
                <a:latin typeface="Arial"/>
              </a:rPr>
              <a:t>На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официальном сайте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Правительства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Иркутской области 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(</a:t>
            </a:r>
            <a:r>
              <a:rPr lang="ru-RU" sz="1600" kern="0" dirty="0">
                <a:solidFill>
                  <a:srgbClr val="000000"/>
                </a:solidFill>
                <a:latin typeface="Arial"/>
                <a:hlinkClick r:id="rId3"/>
              </a:rPr>
              <a:t>http://irkobl.ru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) во вкладке «Область» </a:t>
            </a:r>
            <a:r>
              <a:rPr lang="ru-RU" sz="1600" b="1" kern="0" dirty="0">
                <a:solidFill>
                  <a:srgbClr val="000000"/>
                </a:solidFill>
                <a:latin typeface="Arial"/>
              </a:rPr>
              <a:t>создан раздел - «Поддержка СОНКО»</a:t>
            </a:r>
            <a:r>
              <a:rPr lang="ru-RU" sz="1600" kern="0" dirty="0">
                <a:solidFill>
                  <a:srgbClr val="000000"/>
                </a:solidFill>
                <a:latin typeface="Arial"/>
              </a:rPr>
              <a:t>. Ответственными ИОГВ проводится активное информирование СОНКО и иных заинтересованных лицо о возможных мерах поддержки и планируемых </a:t>
            </a:r>
            <a:r>
              <a:rPr lang="ru-RU" sz="1600" kern="0" dirty="0" smtClean="0">
                <a:solidFill>
                  <a:srgbClr val="000000"/>
                </a:solidFill>
                <a:latin typeface="Arial"/>
              </a:rPr>
              <a:t>мероприятиях;</a:t>
            </a:r>
            <a:endParaRPr kumimoji="0" lang="ru-RU" sz="160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pic>
        <p:nvPicPr>
          <p:cNvPr id="81" name="Рисунок 80"/>
          <p:cNvPicPr/>
          <p:nvPr/>
        </p:nvPicPr>
        <p:blipFill rotWithShape="1">
          <a:blip r:embed="rId4"/>
          <a:srcRect l="24929" t="4879" r="25832" b="3523"/>
          <a:stretch/>
        </p:blipFill>
        <p:spPr bwMode="auto">
          <a:xfrm>
            <a:off x="6050369" y="1807656"/>
            <a:ext cx="2482071" cy="26294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2" name="Содержимое 8"/>
          <p:cNvSpPr txBox="1">
            <a:spLocks/>
          </p:cNvSpPr>
          <p:nvPr/>
        </p:nvSpPr>
        <p:spPr bwMode="auto">
          <a:xfrm>
            <a:off x="572819" y="4615968"/>
            <a:ext cx="4753173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ru-RU"/>
            </a:defPPr>
            <a:lvl1pPr marL="342900" indent="-342900" defTabSz="8953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Char char="•"/>
              <a:defRPr sz="2800"/>
            </a:lvl1pPr>
            <a:lvl2pPr marL="0" lvl="1" indent="0" defTabSz="895350" eaLnBrk="0" fontAlgn="base" hangingPunct="0">
              <a:spcBef>
                <a:spcPct val="0"/>
              </a:spcBef>
              <a:spcAft>
                <a:spcPct val="0"/>
              </a:spcAft>
              <a:buSzPct val="120000"/>
              <a:buNone/>
              <a:defRPr sz="1600" kern="0">
                <a:solidFill>
                  <a:srgbClr val="000000"/>
                </a:solidFill>
                <a:latin typeface="Arial"/>
              </a:defRPr>
            </a:lvl2pPr>
            <a:lvl3pPr marL="295275" indent="-149225" defTabSz="89535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/>
            </a:lvl3pPr>
            <a:lvl4pPr marL="431800" indent="-134938" defTabSz="895350" eaLnBrk="0" fontAlgn="base" hangingPunct="0">
              <a:spcBef>
                <a:spcPct val="0"/>
              </a:spcBef>
              <a:spcAft>
                <a:spcPct val="0"/>
              </a:spcAft>
              <a:buSzPct val="89000"/>
              <a:buChar char="•"/>
            </a:lvl4pPr>
            <a:lvl5pPr marL="582613" indent="-149225" defTabSz="895350" eaLnBrk="0" fontAlgn="base" hangingPunct="0">
              <a:spcBef>
                <a:spcPct val="0"/>
              </a:spcBef>
              <a:spcAft>
                <a:spcPct val="0"/>
              </a:spcAft>
              <a:buSzPct val="75000"/>
              <a:buChar char="–"/>
            </a:lvl5pPr>
            <a:lvl6pPr marL="10398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6pPr>
            <a:lvl7pPr marL="14970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7pPr>
            <a:lvl8pPr marL="19542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8pPr>
            <a:lvl9pPr marL="2411413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</a:lvl9pPr>
          </a:lstStyle>
          <a:p>
            <a:pPr lvl="1"/>
            <a:r>
              <a:rPr lang="ru-RU" dirty="0" smtClean="0"/>
              <a:t>В апреле </a:t>
            </a:r>
            <a:r>
              <a:rPr lang="ru-RU" dirty="0"/>
              <a:t>2017 года </a:t>
            </a:r>
            <a:r>
              <a:rPr lang="ru-RU" b="1" dirty="0"/>
              <a:t>разработаны и </a:t>
            </a:r>
            <a:r>
              <a:rPr lang="ru-RU" b="1" dirty="0" smtClean="0"/>
              <a:t>направлены методические рекомендации муниципальным образованиям</a:t>
            </a:r>
            <a:r>
              <a:rPr lang="ru-RU" dirty="0" smtClean="0"/>
              <a:t> </a:t>
            </a:r>
            <a:r>
              <a:rPr lang="ru-RU" dirty="0"/>
              <a:t>Иркутской области </a:t>
            </a:r>
            <a:r>
              <a:rPr lang="ru-RU" dirty="0" smtClean="0"/>
              <a:t>по </a:t>
            </a:r>
            <a:r>
              <a:rPr lang="ru-RU" dirty="0"/>
              <a:t>расширению и совершенствованию поддержки СОНКО</a:t>
            </a:r>
            <a:r>
              <a:rPr lang="ru-RU" dirty="0" smtClean="0"/>
              <a:t>, а также проведен анализ существующих мер поддержки СОНКО на территориях муниципальных образований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5622798" y="4627002"/>
            <a:ext cx="362972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ru-RU" sz="1200" dirty="0" smtClean="0"/>
              <a:t>Активная </a:t>
            </a:r>
            <a:r>
              <a:rPr lang="ru-RU" sz="1200" dirty="0"/>
              <a:t>поддержка </a:t>
            </a:r>
            <a:r>
              <a:rPr lang="ru-RU" sz="1200" dirty="0" smtClean="0"/>
              <a:t>СОНКО (финансовая, имущественная, информационная): </a:t>
            </a:r>
          </a:p>
          <a:p>
            <a:pPr lvl="1"/>
            <a:endParaRPr lang="ru-RU" sz="1200" dirty="0" smtClean="0"/>
          </a:p>
          <a:p>
            <a:pPr lvl="1"/>
            <a:r>
              <a:rPr lang="ru-RU" sz="1200" b="1" dirty="0" smtClean="0"/>
              <a:t>г. Иркутск , </a:t>
            </a:r>
          </a:p>
          <a:p>
            <a:pPr lvl="1"/>
            <a:r>
              <a:rPr lang="ru-RU" sz="1200" b="1" dirty="0"/>
              <a:t>г</a:t>
            </a:r>
            <a:r>
              <a:rPr lang="ru-RU" sz="1200" b="1" dirty="0" smtClean="0"/>
              <a:t>. Ангарск</a:t>
            </a:r>
            <a:r>
              <a:rPr lang="ru-RU" sz="1200" b="1" dirty="0"/>
              <a:t>, </a:t>
            </a:r>
            <a:endParaRPr lang="ru-RU" sz="1200" b="1" dirty="0" smtClean="0"/>
          </a:p>
          <a:p>
            <a:pPr lvl="1"/>
            <a:r>
              <a:rPr lang="ru-RU" sz="1200" b="1" dirty="0"/>
              <a:t>г</a:t>
            </a:r>
            <a:r>
              <a:rPr lang="ru-RU" sz="1200" b="1" dirty="0" smtClean="0"/>
              <a:t>. Саянск</a:t>
            </a:r>
            <a:r>
              <a:rPr lang="ru-RU" sz="1200" b="1" dirty="0"/>
              <a:t>, </a:t>
            </a:r>
            <a:endParaRPr lang="ru-RU" sz="1200" b="1" dirty="0" smtClean="0"/>
          </a:p>
          <a:p>
            <a:pPr lvl="1"/>
            <a:r>
              <a:rPr lang="ru-RU" sz="1200" b="1" dirty="0" smtClean="0"/>
              <a:t>г. Зима</a:t>
            </a:r>
            <a:r>
              <a:rPr lang="ru-RU" sz="1200" b="1" dirty="0"/>
              <a:t>, </a:t>
            </a:r>
            <a:endParaRPr lang="ru-RU" sz="1200" b="1" dirty="0" smtClean="0"/>
          </a:p>
          <a:p>
            <a:pPr lvl="1"/>
            <a:r>
              <a:rPr lang="ru-RU" sz="1200" b="1" dirty="0"/>
              <a:t>г. </a:t>
            </a:r>
            <a:r>
              <a:rPr lang="ru-RU" sz="1200" b="1" dirty="0" smtClean="0"/>
              <a:t>Черемхово,</a:t>
            </a:r>
          </a:p>
          <a:p>
            <a:pPr lvl="1"/>
            <a:r>
              <a:rPr lang="ru-RU" sz="1200" b="1" dirty="0" err="1" smtClean="0"/>
              <a:t>Ольхонский</a:t>
            </a:r>
            <a:r>
              <a:rPr lang="ru-RU" sz="1200" b="1" dirty="0" smtClean="0"/>
              <a:t> район</a:t>
            </a:r>
          </a:p>
        </p:txBody>
      </p:sp>
      <p:sp>
        <p:nvSpPr>
          <p:cNvPr id="42" name="Rectangle 1"/>
          <p:cNvSpPr>
            <a:spLocks noChangeArrowheads="1"/>
          </p:cNvSpPr>
          <p:nvPr/>
        </p:nvSpPr>
        <p:spPr bwMode="auto">
          <a:xfrm>
            <a:off x="8502403" y="6478854"/>
            <a:ext cx="6061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1" kern="0" dirty="0">
                <a:solidFill>
                  <a:srgbClr val="2A2A2A"/>
                </a:solidFill>
                <a:latin typeface="Arial"/>
                <a:cs typeface="Times New Roman" pitchFamily="18" charset="0"/>
              </a:rPr>
              <a:t>5</a:t>
            </a:r>
            <a:endParaRPr kumimoji="0" lang="ru-RU" sz="1100" b="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583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" name="Группа 99"/>
          <p:cNvGrpSpPr/>
          <p:nvPr/>
        </p:nvGrpSpPr>
        <p:grpSpPr>
          <a:xfrm rot="21095698">
            <a:off x="900859" y="-1237965"/>
            <a:ext cx="7918345" cy="8662864"/>
            <a:chOff x="2045390" y="1136389"/>
            <a:chExt cx="6214834" cy="5579942"/>
          </a:xfrm>
          <a:solidFill>
            <a:schemeClr val="bg1">
              <a:lumMod val="65000"/>
              <a:alpha val="14000"/>
            </a:schemeClr>
          </a:solidFill>
          <a:effectLst/>
        </p:grpSpPr>
        <p:sp>
          <p:nvSpPr>
            <p:cNvPr id="41" name="Freeform 5"/>
            <p:cNvSpPr>
              <a:spLocks/>
            </p:cNvSpPr>
            <p:nvPr/>
          </p:nvSpPr>
          <p:spPr bwMode="auto">
            <a:xfrm rot="21439583">
              <a:off x="6752056" y="2477586"/>
              <a:ext cx="1508168" cy="1735240"/>
            </a:xfrm>
            <a:custGeom>
              <a:avLst/>
              <a:gdLst/>
              <a:ahLst/>
              <a:cxnLst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30" y="67"/>
                </a:cxn>
                <a:cxn ang="0">
                  <a:pos x="52" y="33"/>
                </a:cxn>
                <a:cxn ang="0">
                  <a:pos x="71" y="6"/>
                </a:cxn>
                <a:cxn ang="0">
                  <a:pos x="106" y="7"/>
                </a:cxn>
                <a:cxn ang="0">
                  <a:pos x="140" y="24"/>
                </a:cxn>
                <a:cxn ang="0">
                  <a:pos x="152" y="47"/>
                </a:cxn>
                <a:cxn ang="0">
                  <a:pos x="175" y="75"/>
                </a:cxn>
                <a:cxn ang="0">
                  <a:pos x="196" y="76"/>
                </a:cxn>
                <a:cxn ang="0">
                  <a:pos x="215" y="69"/>
                </a:cxn>
                <a:cxn ang="0">
                  <a:pos x="238" y="90"/>
                </a:cxn>
                <a:cxn ang="0">
                  <a:pos x="246" y="122"/>
                </a:cxn>
                <a:cxn ang="0">
                  <a:pos x="265" y="145"/>
                </a:cxn>
                <a:cxn ang="0">
                  <a:pos x="258" y="174"/>
                </a:cxn>
                <a:cxn ang="0">
                  <a:pos x="228" y="168"/>
                </a:cxn>
                <a:cxn ang="0">
                  <a:pos x="199" y="185"/>
                </a:cxn>
                <a:cxn ang="0">
                  <a:pos x="196" y="204"/>
                </a:cxn>
                <a:cxn ang="0">
                  <a:pos x="191" y="233"/>
                </a:cxn>
                <a:cxn ang="0">
                  <a:pos x="203" y="257"/>
                </a:cxn>
                <a:cxn ang="0">
                  <a:pos x="213" y="265"/>
                </a:cxn>
                <a:cxn ang="0">
                  <a:pos x="218" y="282"/>
                </a:cxn>
                <a:cxn ang="0">
                  <a:pos x="220" y="302"/>
                </a:cxn>
                <a:cxn ang="0">
                  <a:pos x="187" y="319"/>
                </a:cxn>
                <a:cxn ang="0">
                  <a:pos x="139" y="314"/>
                </a:cxn>
                <a:cxn ang="0">
                  <a:pos x="151" y="292"/>
                </a:cxn>
                <a:cxn ang="0">
                  <a:pos x="113" y="293"/>
                </a:cxn>
                <a:cxn ang="0">
                  <a:pos x="95" y="312"/>
                </a:cxn>
                <a:cxn ang="0">
                  <a:pos x="84" y="328"/>
                </a:cxn>
                <a:cxn ang="0">
                  <a:pos x="59" y="346"/>
                </a:cxn>
                <a:cxn ang="0">
                  <a:pos x="28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31" y="327"/>
                </a:cxn>
                <a:cxn ang="0">
                  <a:pos x="24" y="310"/>
                </a:cxn>
                <a:cxn ang="0">
                  <a:pos x="15" y="288"/>
                </a:cxn>
                <a:cxn ang="0">
                  <a:pos x="9" y="276"/>
                </a:cxn>
                <a:cxn ang="0">
                  <a:pos x="10" y="257"/>
                </a:cxn>
                <a:cxn ang="0">
                  <a:pos x="14" y="226"/>
                </a:cxn>
                <a:cxn ang="0">
                  <a:pos x="25" y="209"/>
                </a:cxn>
                <a:cxn ang="0">
                  <a:pos x="18" y="184"/>
                </a:cxn>
                <a:cxn ang="0">
                  <a:pos x="23" y="160"/>
                </a:cxn>
                <a:cxn ang="0">
                  <a:pos x="24" y="129"/>
                </a:cxn>
                <a:cxn ang="0">
                  <a:pos x="18" y="104"/>
                </a:cxn>
              </a:cxnLst>
              <a:rect l="0" t="0" r="r" b="b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8" y="350"/>
                  </a:lnTo>
                  <a:lnTo>
                    <a:pt x="28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2" name="Freeform 6"/>
            <p:cNvSpPr>
              <a:spLocks/>
            </p:cNvSpPr>
            <p:nvPr/>
          </p:nvSpPr>
          <p:spPr bwMode="auto">
            <a:xfrm rot="21439583">
              <a:off x="5936291" y="2923073"/>
              <a:ext cx="1012112" cy="1287381"/>
            </a:xfrm>
            <a:custGeom>
              <a:avLst/>
              <a:gdLst/>
              <a:ahLst/>
              <a:cxnLst>
                <a:cxn ang="0">
                  <a:pos x="8" y="81"/>
                </a:cxn>
                <a:cxn ang="0">
                  <a:pos x="18" y="70"/>
                </a:cxn>
                <a:cxn ang="0">
                  <a:pos x="25" y="59"/>
                </a:cxn>
                <a:cxn ang="0">
                  <a:pos x="36" y="51"/>
                </a:cxn>
                <a:cxn ang="0">
                  <a:pos x="52" y="47"/>
                </a:cxn>
                <a:cxn ang="0">
                  <a:pos x="77" y="41"/>
                </a:cxn>
                <a:cxn ang="0">
                  <a:pos x="88" y="29"/>
                </a:cxn>
                <a:cxn ang="0">
                  <a:pos x="98" y="27"/>
                </a:cxn>
                <a:cxn ang="0">
                  <a:pos x="105" y="40"/>
                </a:cxn>
                <a:cxn ang="0">
                  <a:pos x="108" y="51"/>
                </a:cxn>
                <a:cxn ang="0">
                  <a:pos x="106" y="64"/>
                </a:cxn>
                <a:cxn ang="0">
                  <a:pos x="121" y="54"/>
                </a:cxn>
                <a:cxn ang="0">
                  <a:pos x="137" y="51"/>
                </a:cxn>
                <a:cxn ang="0">
                  <a:pos x="149" y="43"/>
                </a:cxn>
                <a:cxn ang="0">
                  <a:pos x="147" y="28"/>
                </a:cxn>
                <a:cxn ang="0">
                  <a:pos x="152" y="15"/>
                </a:cxn>
                <a:cxn ang="0">
                  <a:pos x="159" y="9"/>
                </a:cxn>
                <a:cxn ang="0">
                  <a:pos x="171" y="8"/>
                </a:cxn>
                <a:cxn ang="0">
                  <a:pos x="166" y="38"/>
                </a:cxn>
                <a:cxn ang="0">
                  <a:pos x="167" y="59"/>
                </a:cxn>
                <a:cxn ang="0">
                  <a:pos x="177" y="80"/>
                </a:cxn>
                <a:cxn ang="0">
                  <a:pos x="167" y="99"/>
                </a:cxn>
                <a:cxn ang="0">
                  <a:pos x="181" y="121"/>
                </a:cxn>
                <a:cxn ang="0">
                  <a:pos x="169" y="140"/>
                </a:cxn>
                <a:cxn ang="0">
                  <a:pos x="152" y="161"/>
                </a:cxn>
                <a:cxn ang="0">
                  <a:pos x="149" y="180"/>
                </a:cxn>
                <a:cxn ang="0">
                  <a:pos x="149" y="197"/>
                </a:cxn>
                <a:cxn ang="0">
                  <a:pos x="168" y="216"/>
                </a:cxn>
                <a:cxn ang="0">
                  <a:pos x="171" y="234"/>
                </a:cxn>
                <a:cxn ang="0">
                  <a:pos x="180" y="253"/>
                </a:cxn>
                <a:cxn ang="0">
                  <a:pos x="171" y="265"/>
                </a:cxn>
                <a:cxn ang="0">
                  <a:pos x="156" y="268"/>
                </a:cxn>
                <a:cxn ang="0">
                  <a:pos x="141" y="261"/>
                </a:cxn>
                <a:cxn ang="0">
                  <a:pos x="135" y="244"/>
                </a:cxn>
                <a:cxn ang="0">
                  <a:pos x="127" y="255"/>
                </a:cxn>
                <a:cxn ang="0">
                  <a:pos x="117" y="254"/>
                </a:cxn>
                <a:cxn ang="0">
                  <a:pos x="104" y="251"/>
                </a:cxn>
                <a:cxn ang="0">
                  <a:pos x="92" y="252"/>
                </a:cxn>
                <a:cxn ang="0">
                  <a:pos x="74" y="239"/>
                </a:cxn>
                <a:cxn ang="0">
                  <a:pos x="62" y="265"/>
                </a:cxn>
                <a:cxn ang="0">
                  <a:pos x="29" y="265"/>
                </a:cxn>
                <a:cxn ang="0">
                  <a:pos x="49" y="240"/>
                </a:cxn>
                <a:cxn ang="0">
                  <a:pos x="41" y="213"/>
                </a:cxn>
                <a:cxn ang="0">
                  <a:pos x="41" y="194"/>
                </a:cxn>
                <a:cxn ang="0">
                  <a:pos x="32" y="176"/>
                </a:cxn>
                <a:cxn ang="0">
                  <a:pos x="24" y="155"/>
                </a:cxn>
                <a:cxn ang="0">
                  <a:pos x="34" y="141"/>
                </a:cxn>
                <a:cxn ang="0">
                  <a:pos x="47" y="129"/>
                </a:cxn>
                <a:cxn ang="0">
                  <a:pos x="70" y="116"/>
                </a:cxn>
                <a:cxn ang="0">
                  <a:pos x="68" y="82"/>
                </a:cxn>
                <a:cxn ang="0">
                  <a:pos x="38" y="84"/>
                </a:cxn>
                <a:cxn ang="0">
                  <a:pos x="18" y="100"/>
                </a:cxn>
                <a:cxn ang="0">
                  <a:pos x="4" y="89"/>
                </a:cxn>
              </a:cxnLst>
              <a:rect l="0" t="0" r="r" b="b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3" name="Freeform 8"/>
            <p:cNvSpPr>
              <a:spLocks/>
            </p:cNvSpPr>
            <p:nvPr/>
          </p:nvSpPr>
          <p:spPr bwMode="auto">
            <a:xfrm rot="21439583">
              <a:off x="2936531" y="3794175"/>
              <a:ext cx="630071" cy="1077926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30" y="31"/>
                </a:cxn>
                <a:cxn ang="0">
                  <a:pos x="35" y="28"/>
                </a:cxn>
                <a:cxn ang="0">
                  <a:pos x="46" y="27"/>
                </a:cxn>
                <a:cxn ang="0">
                  <a:pos x="52" y="20"/>
                </a:cxn>
                <a:cxn ang="0">
                  <a:pos x="59" y="12"/>
                </a:cxn>
                <a:cxn ang="0">
                  <a:pos x="61" y="2"/>
                </a:cxn>
                <a:cxn ang="0">
                  <a:pos x="78" y="4"/>
                </a:cxn>
                <a:cxn ang="0">
                  <a:pos x="79" y="18"/>
                </a:cxn>
                <a:cxn ang="0">
                  <a:pos x="84" y="24"/>
                </a:cxn>
                <a:cxn ang="0">
                  <a:pos x="91" y="28"/>
                </a:cxn>
                <a:cxn ang="0">
                  <a:pos x="93" y="51"/>
                </a:cxn>
                <a:cxn ang="0">
                  <a:pos x="108" y="64"/>
                </a:cxn>
                <a:cxn ang="0">
                  <a:pos x="107" y="78"/>
                </a:cxn>
                <a:cxn ang="0">
                  <a:pos x="105" y="88"/>
                </a:cxn>
                <a:cxn ang="0">
                  <a:pos x="110" y="94"/>
                </a:cxn>
                <a:cxn ang="0">
                  <a:pos x="111" y="104"/>
                </a:cxn>
                <a:cxn ang="0">
                  <a:pos x="98" y="112"/>
                </a:cxn>
                <a:cxn ang="0">
                  <a:pos x="98" y="115"/>
                </a:cxn>
                <a:cxn ang="0">
                  <a:pos x="98" y="115"/>
                </a:cxn>
                <a:cxn ang="0">
                  <a:pos x="88" y="120"/>
                </a:cxn>
                <a:cxn ang="0">
                  <a:pos x="83" y="129"/>
                </a:cxn>
                <a:cxn ang="0">
                  <a:pos x="74" y="130"/>
                </a:cxn>
                <a:cxn ang="0">
                  <a:pos x="71" y="139"/>
                </a:cxn>
                <a:cxn ang="0">
                  <a:pos x="81" y="150"/>
                </a:cxn>
                <a:cxn ang="0">
                  <a:pos x="86" y="159"/>
                </a:cxn>
                <a:cxn ang="0">
                  <a:pos x="97" y="159"/>
                </a:cxn>
                <a:cxn ang="0">
                  <a:pos x="101" y="165"/>
                </a:cxn>
                <a:cxn ang="0">
                  <a:pos x="99" y="206"/>
                </a:cxn>
                <a:cxn ang="0">
                  <a:pos x="92" y="210"/>
                </a:cxn>
                <a:cxn ang="0">
                  <a:pos x="78" y="209"/>
                </a:cxn>
                <a:cxn ang="0">
                  <a:pos x="71" y="215"/>
                </a:cxn>
                <a:cxn ang="0">
                  <a:pos x="71" y="223"/>
                </a:cxn>
                <a:cxn ang="0">
                  <a:pos x="61" y="221"/>
                </a:cxn>
                <a:cxn ang="0">
                  <a:pos x="55" y="226"/>
                </a:cxn>
                <a:cxn ang="0">
                  <a:pos x="44" y="215"/>
                </a:cxn>
                <a:cxn ang="0">
                  <a:pos x="37" y="215"/>
                </a:cxn>
                <a:cxn ang="0">
                  <a:pos x="27" y="207"/>
                </a:cxn>
                <a:cxn ang="0">
                  <a:pos x="18" y="200"/>
                </a:cxn>
                <a:cxn ang="0">
                  <a:pos x="7" y="186"/>
                </a:cxn>
                <a:cxn ang="0">
                  <a:pos x="10" y="179"/>
                </a:cxn>
                <a:cxn ang="0">
                  <a:pos x="4" y="173"/>
                </a:cxn>
                <a:cxn ang="0">
                  <a:pos x="6" y="163"/>
                </a:cxn>
                <a:cxn ang="0">
                  <a:pos x="1" y="153"/>
                </a:cxn>
                <a:cxn ang="0">
                  <a:pos x="4" y="146"/>
                </a:cxn>
                <a:cxn ang="0">
                  <a:pos x="6" y="136"/>
                </a:cxn>
                <a:cxn ang="0">
                  <a:pos x="7" y="123"/>
                </a:cxn>
                <a:cxn ang="0">
                  <a:pos x="5" y="110"/>
                </a:cxn>
                <a:cxn ang="0">
                  <a:pos x="10" y="104"/>
                </a:cxn>
                <a:cxn ang="0">
                  <a:pos x="8" y="91"/>
                </a:cxn>
                <a:cxn ang="0">
                  <a:pos x="19" y="89"/>
                </a:cxn>
                <a:cxn ang="0">
                  <a:pos x="17" y="77"/>
                </a:cxn>
                <a:cxn ang="0">
                  <a:pos x="23" y="72"/>
                </a:cxn>
                <a:cxn ang="0">
                  <a:pos x="24" y="52"/>
                </a:cxn>
                <a:cxn ang="0">
                  <a:pos x="29" y="45"/>
                </a:cxn>
                <a:cxn ang="0">
                  <a:pos x="28" y="32"/>
                </a:cxn>
              </a:cxnLst>
              <a:rect l="0" t="0" r="r" b="b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lnTo>
                    <a:pt x="98" y="115"/>
                  </a:ln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5" name="Freeform 9"/>
            <p:cNvSpPr>
              <a:spLocks noEditPoints="1"/>
            </p:cNvSpPr>
            <p:nvPr/>
          </p:nvSpPr>
          <p:spPr bwMode="auto">
            <a:xfrm rot="21439583">
              <a:off x="2045390" y="4696010"/>
              <a:ext cx="1344150" cy="1263539"/>
            </a:xfrm>
            <a:custGeom>
              <a:avLst/>
              <a:gdLst/>
              <a:ahLst/>
              <a:cxnLst>
                <a:cxn ang="0">
                  <a:pos x="210" y="238"/>
                </a:cxn>
                <a:cxn ang="0">
                  <a:pos x="199" y="253"/>
                </a:cxn>
                <a:cxn ang="0">
                  <a:pos x="167" y="264"/>
                </a:cxn>
                <a:cxn ang="0">
                  <a:pos x="160" y="247"/>
                </a:cxn>
                <a:cxn ang="0">
                  <a:pos x="142" y="251"/>
                </a:cxn>
                <a:cxn ang="0">
                  <a:pos x="120" y="238"/>
                </a:cxn>
                <a:cxn ang="0">
                  <a:pos x="111" y="226"/>
                </a:cxn>
                <a:cxn ang="0">
                  <a:pos x="92" y="218"/>
                </a:cxn>
                <a:cxn ang="0">
                  <a:pos x="77" y="201"/>
                </a:cxn>
                <a:cxn ang="0">
                  <a:pos x="49" y="182"/>
                </a:cxn>
                <a:cxn ang="0">
                  <a:pos x="35" y="183"/>
                </a:cxn>
                <a:cxn ang="0">
                  <a:pos x="19" y="162"/>
                </a:cxn>
                <a:cxn ang="0">
                  <a:pos x="10" y="145"/>
                </a:cxn>
                <a:cxn ang="0">
                  <a:pos x="1" y="126"/>
                </a:cxn>
                <a:cxn ang="0">
                  <a:pos x="15" y="120"/>
                </a:cxn>
                <a:cxn ang="0">
                  <a:pos x="27" y="106"/>
                </a:cxn>
                <a:cxn ang="0">
                  <a:pos x="43" y="112"/>
                </a:cxn>
                <a:cxn ang="0">
                  <a:pos x="55" y="91"/>
                </a:cxn>
                <a:cxn ang="0">
                  <a:pos x="58" y="79"/>
                </a:cxn>
                <a:cxn ang="0">
                  <a:pos x="79" y="80"/>
                </a:cxn>
                <a:cxn ang="0">
                  <a:pos x="98" y="86"/>
                </a:cxn>
                <a:cxn ang="0">
                  <a:pos x="109" y="106"/>
                </a:cxn>
                <a:cxn ang="0">
                  <a:pos x="128" y="107"/>
                </a:cxn>
                <a:cxn ang="0">
                  <a:pos x="128" y="83"/>
                </a:cxn>
                <a:cxn ang="0">
                  <a:pos x="131" y="67"/>
                </a:cxn>
                <a:cxn ang="0">
                  <a:pos x="151" y="71"/>
                </a:cxn>
                <a:cxn ang="0">
                  <a:pos x="140" y="44"/>
                </a:cxn>
                <a:cxn ang="0">
                  <a:pos x="147" y="27"/>
                </a:cxn>
                <a:cxn ang="0">
                  <a:pos x="170" y="12"/>
                </a:cxn>
                <a:cxn ang="0">
                  <a:pos x="179" y="4"/>
                </a:cxn>
                <a:cxn ang="0">
                  <a:pos x="196" y="21"/>
                </a:cxn>
                <a:cxn ang="0">
                  <a:pos x="224" y="40"/>
                </a:cxn>
                <a:cxn ang="0">
                  <a:pos x="235" y="48"/>
                </a:cxn>
                <a:cxn ang="0">
                  <a:pos x="228" y="81"/>
                </a:cxn>
                <a:cxn ang="0">
                  <a:pos x="226" y="101"/>
                </a:cxn>
                <a:cxn ang="0">
                  <a:pos x="225" y="132"/>
                </a:cxn>
                <a:cxn ang="0">
                  <a:pos x="218" y="145"/>
                </a:cxn>
                <a:cxn ang="0">
                  <a:pos x="203" y="173"/>
                </a:cxn>
                <a:cxn ang="0">
                  <a:pos x="191" y="189"/>
                </a:cxn>
                <a:cxn ang="0">
                  <a:pos x="191" y="210"/>
                </a:cxn>
                <a:cxn ang="0">
                  <a:pos x="211" y="225"/>
                </a:cxn>
                <a:cxn ang="0">
                  <a:pos x="177" y="1"/>
                </a:cxn>
                <a:cxn ang="0">
                  <a:pos x="58" y="76"/>
                </a:cxn>
                <a:cxn ang="0">
                  <a:pos x="57" y="76"/>
                </a:cxn>
              </a:cxnLst>
              <a:rect l="0" t="0" r="r" b="b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6" name="Freeform 12"/>
            <p:cNvSpPr>
              <a:spLocks noEditPoints="1"/>
            </p:cNvSpPr>
            <p:nvPr/>
          </p:nvSpPr>
          <p:spPr bwMode="auto">
            <a:xfrm rot="21439583">
              <a:off x="5098311" y="3274651"/>
              <a:ext cx="1306145" cy="1008108"/>
            </a:xfrm>
            <a:custGeom>
              <a:avLst/>
              <a:gdLst/>
              <a:ahLst/>
              <a:cxnLst>
                <a:cxn ang="0">
                  <a:pos x="139" y="12"/>
                </a:cxn>
                <a:cxn ang="0">
                  <a:pos x="156" y="21"/>
                </a:cxn>
                <a:cxn ang="0">
                  <a:pos x="170" y="32"/>
                </a:cxn>
                <a:cxn ang="0">
                  <a:pos x="190" y="16"/>
                </a:cxn>
                <a:cxn ang="0">
                  <a:pos x="220" y="14"/>
                </a:cxn>
                <a:cxn ang="0">
                  <a:pos x="222" y="48"/>
                </a:cxn>
                <a:cxn ang="0">
                  <a:pos x="199" y="61"/>
                </a:cxn>
                <a:cxn ang="0">
                  <a:pos x="186" y="73"/>
                </a:cxn>
                <a:cxn ang="0">
                  <a:pos x="176" y="87"/>
                </a:cxn>
                <a:cxn ang="0">
                  <a:pos x="184" y="108"/>
                </a:cxn>
                <a:cxn ang="0">
                  <a:pos x="193" y="126"/>
                </a:cxn>
                <a:cxn ang="0">
                  <a:pos x="193" y="145"/>
                </a:cxn>
                <a:cxn ang="0">
                  <a:pos x="201" y="172"/>
                </a:cxn>
                <a:cxn ang="0">
                  <a:pos x="181" y="197"/>
                </a:cxn>
                <a:cxn ang="0">
                  <a:pos x="168" y="189"/>
                </a:cxn>
                <a:cxn ang="0">
                  <a:pos x="156" y="199"/>
                </a:cxn>
                <a:cxn ang="0">
                  <a:pos x="130" y="187"/>
                </a:cxn>
                <a:cxn ang="0">
                  <a:pos x="112" y="182"/>
                </a:cxn>
                <a:cxn ang="0">
                  <a:pos x="103" y="147"/>
                </a:cxn>
                <a:cxn ang="0">
                  <a:pos x="76" y="150"/>
                </a:cxn>
                <a:cxn ang="0">
                  <a:pos x="61" y="182"/>
                </a:cxn>
                <a:cxn ang="0">
                  <a:pos x="47" y="189"/>
                </a:cxn>
                <a:cxn ang="0">
                  <a:pos x="23" y="207"/>
                </a:cxn>
                <a:cxn ang="0">
                  <a:pos x="0" y="192"/>
                </a:cxn>
                <a:cxn ang="0">
                  <a:pos x="11" y="178"/>
                </a:cxn>
                <a:cxn ang="0">
                  <a:pos x="18" y="159"/>
                </a:cxn>
                <a:cxn ang="0">
                  <a:pos x="13" y="133"/>
                </a:cxn>
                <a:cxn ang="0">
                  <a:pos x="26" y="125"/>
                </a:cxn>
                <a:cxn ang="0">
                  <a:pos x="10" y="108"/>
                </a:cxn>
                <a:cxn ang="0">
                  <a:pos x="12" y="79"/>
                </a:cxn>
                <a:cxn ang="0">
                  <a:pos x="23" y="73"/>
                </a:cxn>
                <a:cxn ang="0">
                  <a:pos x="29" y="54"/>
                </a:cxn>
                <a:cxn ang="0">
                  <a:pos x="42" y="44"/>
                </a:cxn>
                <a:cxn ang="0">
                  <a:pos x="52" y="52"/>
                </a:cxn>
                <a:cxn ang="0">
                  <a:pos x="64" y="67"/>
                </a:cxn>
                <a:cxn ang="0">
                  <a:pos x="77" y="81"/>
                </a:cxn>
                <a:cxn ang="0">
                  <a:pos x="85" y="57"/>
                </a:cxn>
                <a:cxn ang="0">
                  <a:pos x="89" y="36"/>
                </a:cxn>
                <a:cxn ang="0">
                  <a:pos x="107" y="16"/>
                </a:cxn>
                <a:cxn ang="0">
                  <a:pos x="128" y="0"/>
                </a:cxn>
                <a:cxn ang="0">
                  <a:pos x="234" y="174"/>
                </a:cxn>
                <a:cxn ang="0">
                  <a:pos x="181" y="197"/>
                </a:cxn>
                <a:cxn ang="0">
                  <a:pos x="181" y="197"/>
                </a:cxn>
                <a:cxn ang="0">
                  <a:pos x="181" y="197"/>
                </a:cxn>
              </a:cxnLst>
              <a:rect l="0" t="0" r="r" b="b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7" name="Freeform 13"/>
            <p:cNvSpPr>
              <a:spLocks/>
            </p:cNvSpPr>
            <p:nvPr/>
          </p:nvSpPr>
          <p:spPr bwMode="auto">
            <a:xfrm rot="21439583">
              <a:off x="3027423" y="5063253"/>
              <a:ext cx="598067" cy="807167"/>
            </a:xfrm>
            <a:custGeom>
              <a:avLst/>
              <a:gdLst/>
              <a:ahLst/>
              <a:cxnLst>
                <a:cxn ang="0">
                  <a:pos x="58" y="170"/>
                </a:cxn>
                <a:cxn ang="0">
                  <a:pos x="61" y="162"/>
                </a:cxn>
                <a:cxn ang="0">
                  <a:pos x="57" y="159"/>
                </a:cxn>
                <a:cxn ang="0">
                  <a:pos x="55" y="151"/>
                </a:cxn>
                <a:cxn ang="0">
                  <a:pos x="49" y="151"/>
                </a:cxn>
                <a:cxn ang="0">
                  <a:pos x="46" y="150"/>
                </a:cxn>
                <a:cxn ang="0">
                  <a:pos x="36" y="143"/>
                </a:cxn>
                <a:cxn ang="0">
                  <a:pos x="28" y="135"/>
                </a:cxn>
                <a:cxn ang="0">
                  <a:pos x="20" y="141"/>
                </a:cxn>
                <a:cxn ang="0">
                  <a:pos x="16" y="128"/>
                </a:cxn>
                <a:cxn ang="0">
                  <a:pos x="12" y="116"/>
                </a:cxn>
                <a:cxn ang="0">
                  <a:pos x="2" y="107"/>
                </a:cxn>
                <a:cxn ang="0">
                  <a:pos x="16" y="107"/>
                </a:cxn>
                <a:cxn ang="0">
                  <a:pos x="12" y="98"/>
                </a:cxn>
                <a:cxn ang="0">
                  <a:pos x="16" y="89"/>
                </a:cxn>
                <a:cxn ang="0">
                  <a:pos x="28" y="91"/>
                </a:cxn>
                <a:cxn ang="0">
                  <a:pos x="31" y="79"/>
                </a:cxn>
                <a:cxn ang="0">
                  <a:pos x="31" y="66"/>
                </a:cxn>
                <a:cxn ang="0">
                  <a:pos x="43" y="63"/>
                </a:cxn>
                <a:cxn ang="0">
                  <a:pos x="34" y="54"/>
                </a:cxn>
                <a:cxn ang="0">
                  <a:pos x="35" y="45"/>
                </a:cxn>
                <a:cxn ang="0">
                  <a:pos x="50" y="50"/>
                </a:cxn>
                <a:cxn ang="0">
                  <a:pos x="53" y="40"/>
                </a:cxn>
                <a:cxn ang="0">
                  <a:pos x="48" y="31"/>
                </a:cxn>
                <a:cxn ang="0">
                  <a:pos x="51" y="19"/>
                </a:cxn>
                <a:cxn ang="0">
                  <a:pos x="43" y="12"/>
                </a:cxn>
                <a:cxn ang="0">
                  <a:pos x="46" y="4"/>
                </a:cxn>
                <a:cxn ang="0">
                  <a:pos x="50" y="2"/>
                </a:cxn>
                <a:cxn ang="0">
                  <a:pos x="91" y="3"/>
                </a:cxn>
                <a:cxn ang="0">
                  <a:pos x="95" y="9"/>
                </a:cxn>
                <a:cxn ang="0">
                  <a:pos x="107" y="9"/>
                </a:cxn>
                <a:cxn ang="0">
                  <a:pos x="103" y="14"/>
                </a:cxn>
                <a:cxn ang="0">
                  <a:pos x="105" y="20"/>
                </a:cxn>
                <a:cxn ang="0">
                  <a:pos x="97" y="21"/>
                </a:cxn>
                <a:cxn ang="0">
                  <a:pos x="87" y="26"/>
                </a:cxn>
                <a:cxn ang="0">
                  <a:pos x="88" y="34"/>
                </a:cxn>
                <a:cxn ang="0">
                  <a:pos x="97" y="34"/>
                </a:cxn>
                <a:cxn ang="0">
                  <a:pos x="98" y="41"/>
                </a:cxn>
                <a:cxn ang="0">
                  <a:pos x="105" y="44"/>
                </a:cxn>
                <a:cxn ang="0">
                  <a:pos x="107" y="55"/>
                </a:cxn>
                <a:cxn ang="0">
                  <a:pos x="104" y="62"/>
                </a:cxn>
                <a:cxn ang="0">
                  <a:pos x="100" y="63"/>
                </a:cxn>
                <a:cxn ang="0">
                  <a:pos x="101" y="73"/>
                </a:cxn>
                <a:cxn ang="0">
                  <a:pos x="97" y="77"/>
                </a:cxn>
                <a:cxn ang="0">
                  <a:pos x="82" y="80"/>
                </a:cxn>
                <a:cxn ang="0">
                  <a:pos x="81" y="86"/>
                </a:cxn>
                <a:cxn ang="0">
                  <a:pos x="91" y="89"/>
                </a:cxn>
                <a:cxn ang="0">
                  <a:pos x="94" y="94"/>
                </a:cxn>
                <a:cxn ang="0">
                  <a:pos x="87" y="95"/>
                </a:cxn>
                <a:cxn ang="0">
                  <a:pos x="85" y="103"/>
                </a:cxn>
                <a:cxn ang="0">
                  <a:pos x="77" y="106"/>
                </a:cxn>
                <a:cxn ang="0">
                  <a:pos x="77" y="115"/>
                </a:cxn>
                <a:cxn ang="0">
                  <a:pos x="85" y="115"/>
                </a:cxn>
                <a:cxn ang="0">
                  <a:pos x="91" y="119"/>
                </a:cxn>
                <a:cxn ang="0">
                  <a:pos x="90" y="126"/>
                </a:cxn>
                <a:cxn ang="0">
                  <a:pos x="83" y="130"/>
                </a:cxn>
                <a:cxn ang="0">
                  <a:pos x="77" y="138"/>
                </a:cxn>
                <a:cxn ang="0">
                  <a:pos x="76" y="148"/>
                </a:cxn>
                <a:cxn ang="0">
                  <a:pos x="65" y="147"/>
                </a:cxn>
                <a:cxn ang="0">
                  <a:pos x="62" y="151"/>
                </a:cxn>
                <a:cxn ang="0">
                  <a:pos x="66" y="154"/>
                </a:cxn>
                <a:cxn ang="0">
                  <a:pos x="69" y="160"/>
                </a:cxn>
                <a:cxn ang="0">
                  <a:pos x="58" y="170"/>
                </a:cxn>
              </a:cxnLst>
              <a:rect l="0" t="0" r="r" b="b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59" name="Freeform 14"/>
            <p:cNvSpPr>
              <a:spLocks/>
            </p:cNvSpPr>
            <p:nvPr/>
          </p:nvSpPr>
          <p:spPr bwMode="auto">
            <a:xfrm rot="21439583">
              <a:off x="3356636" y="5584269"/>
              <a:ext cx="720080" cy="480213"/>
            </a:xfrm>
            <a:custGeom>
              <a:avLst/>
              <a:gdLst/>
              <a:ahLst/>
              <a:cxnLst>
                <a:cxn ang="0">
                  <a:pos x="46" y="101"/>
                </a:cxn>
                <a:cxn ang="0">
                  <a:pos x="41" y="97"/>
                </a:cxn>
                <a:cxn ang="0">
                  <a:pos x="35" y="93"/>
                </a:cxn>
                <a:cxn ang="0">
                  <a:pos x="28" y="92"/>
                </a:cxn>
                <a:cxn ang="0">
                  <a:pos x="26" y="87"/>
                </a:cxn>
                <a:cxn ang="0">
                  <a:pos x="19" y="80"/>
                </a:cxn>
                <a:cxn ang="0">
                  <a:pos x="10" y="78"/>
                </a:cxn>
                <a:cxn ang="0">
                  <a:pos x="10" y="73"/>
                </a:cxn>
                <a:cxn ang="0">
                  <a:pos x="4" y="70"/>
                </a:cxn>
                <a:cxn ang="0">
                  <a:pos x="0" y="61"/>
                </a:cxn>
                <a:cxn ang="0">
                  <a:pos x="1" y="57"/>
                </a:cxn>
                <a:cxn ang="0">
                  <a:pos x="10" y="49"/>
                </a:cxn>
                <a:cxn ang="0">
                  <a:pos x="19" y="49"/>
                </a:cxn>
                <a:cxn ang="0">
                  <a:pos x="35" y="49"/>
                </a:cxn>
                <a:cxn ang="0">
                  <a:pos x="36" y="43"/>
                </a:cxn>
                <a:cxn ang="0">
                  <a:pos x="44" y="43"/>
                </a:cxn>
                <a:cxn ang="0">
                  <a:pos x="50" y="39"/>
                </a:cxn>
                <a:cxn ang="0">
                  <a:pos x="57" y="32"/>
                </a:cxn>
                <a:cxn ang="0">
                  <a:pos x="66" y="37"/>
                </a:cxn>
                <a:cxn ang="0">
                  <a:pos x="66" y="31"/>
                </a:cxn>
                <a:cxn ang="0">
                  <a:pos x="74" y="31"/>
                </a:cxn>
                <a:cxn ang="0">
                  <a:pos x="76" y="25"/>
                </a:cxn>
                <a:cxn ang="0">
                  <a:pos x="84" y="24"/>
                </a:cxn>
                <a:cxn ang="0">
                  <a:pos x="87" y="17"/>
                </a:cxn>
                <a:cxn ang="0">
                  <a:pos x="93" y="15"/>
                </a:cxn>
                <a:cxn ang="0">
                  <a:pos x="101" y="9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114" y="9"/>
                </a:cxn>
                <a:cxn ang="0">
                  <a:pos x="120" y="9"/>
                </a:cxn>
                <a:cxn ang="0">
                  <a:pos x="123" y="13"/>
                </a:cxn>
                <a:cxn ang="0">
                  <a:pos x="118" y="17"/>
                </a:cxn>
                <a:cxn ang="0">
                  <a:pos x="122" y="20"/>
                </a:cxn>
                <a:cxn ang="0">
                  <a:pos x="127" y="22"/>
                </a:cxn>
                <a:cxn ang="0">
                  <a:pos x="128" y="28"/>
                </a:cxn>
                <a:cxn ang="0">
                  <a:pos x="126" y="36"/>
                </a:cxn>
                <a:cxn ang="0">
                  <a:pos x="119" y="38"/>
                </a:cxn>
                <a:cxn ang="0">
                  <a:pos x="119" y="46"/>
                </a:cxn>
                <a:cxn ang="0">
                  <a:pos x="112" y="43"/>
                </a:cxn>
                <a:cxn ang="0">
                  <a:pos x="110" y="49"/>
                </a:cxn>
                <a:cxn ang="0">
                  <a:pos x="97" y="48"/>
                </a:cxn>
                <a:cxn ang="0">
                  <a:pos x="99" y="59"/>
                </a:cxn>
                <a:cxn ang="0">
                  <a:pos x="87" y="58"/>
                </a:cxn>
                <a:cxn ang="0">
                  <a:pos x="88" y="73"/>
                </a:cxn>
                <a:cxn ang="0">
                  <a:pos x="78" y="72"/>
                </a:cxn>
                <a:cxn ang="0">
                  <a:pos x="66" y="70"/>
                </a:cxn>
                <a:cxn ang="0">
                  <a:pos x="59" y="72"/>
                </a:cxn>
                <a:cxn ang="0">
                  <a:pos x="49" y="80"/>
                </a:cxn>
                <a:cxn ang="0">
                  <a:pos x="42" y="86"/>
                </a:cxn>
                <a:cxn ang="0">
                  <a:pos x="46" y="101"/>
                </a:cxn>
              </a:cxnLst>
              <a:rect l="0" t="0" r="r" b="b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0" name="Freeform 15"/>
            <p:cNvSpPr>
              <a:spLocks/>
            </p:cNvSpPr>
            <p:nvPr/>
          </p:nvSpPr>
          <p:spPr bwMode="auto">
            <a:xfrm rot="21439583">
              <a:off x="3597638" y="5802537"/>
              <a:ext cx="702080" cy="461482"/>
            </a:xfrm>
            <a:custGeom>
              <a:avLst/>
              <a:gdLst/>
              <a:ahLst/>
              <a:cxnLst>
                <a:cxn ang="0">
                  <a:pos x="57" y="94"/>
                </a:cxn>
                <a:cxn ang="0">
                  <a:pos x="53" y="91"/>
                </a:cxn>
                <a:cxn ang="0">
                  <a:pos x="49" y="96"/>
                </a:cxn>
                <a:cxn ang="0">
                  <a:pos x="42" y="95"/>
                </a:cxn>
                <a:cxn ang="0">
                  <a:pos x="41" y="85"/>
                </a:cxn>
                <a:cxn ang="0">
                  <a:pos x="32" y="81"/>
                </a:cxn>
                <a:cxn ang="0">
                  <a:pos x="28" y="73"/>
                </a:cxn>
                <a:cxn ang="0">
                  <a:pos x="18" y="65"/>
                </a:cxn>
                <a:cxn ang="0">
                  <a:pos x="14" y="59"/>
                </a:cxn>
                <a:cxn ang="0">
                  <a:pos x="2" y="49"/>
                </a:cxn>
                <a:cxn ang="0">
                  <a:pos x="5" y="52"/>
                </a:cxn>
                <a:cxn ang="0">
                  <a:pos x="1" y="37"/>
                </a:cxn>
                <a:cxn ang="0">
                  <a:pos x="8" y="31"/>
                </a:cxn>
                <a:cxn ang="0">
                  <a:pos x="18" y="23"/>
                </a:cxn>
                <a:cxn ang="0">
                  <a:pos x="25" y="21"/>
                </a:cxn>
                <a:cxn ang="0">
                  <a:pos x="37" y="23"/>
                </a:cxn>
                <a:cxn ang="0">
                  <a:pos x="47" y="24"/>
                </a:cxn>
                <a:cxn ang="0">
                  <a:pos x="46" y="9"/>
                </a:cxn>
                <a:cxn ang="0">
                  <a:pos x="58" y="10"/>
                </a:cxn>
                <a:cxn ang="0">
                  <a:pos x="68" y="15"/>
                </a:cxn>
                <a:cxn ang="0">
                  <a:pos x="76" y="26"/>
                </a:cxn>
                <a:cxn ang="0">
                  <a:pos x="87" y="25"/>
                </a:cxn>
                <a:cxn ang="0">
                  <a:pos x="93" y="16"/>
                </a:cxn>
                <a:cxn ang="0">
                  <a:pos x="96" y="5"/>
                </a:cxn>
                <a:cxn ang="0">
                  <a:pos x="106" y="9"/>
                </a:cxn>
                <a:cxn ang="0">
                  <a:pos x="110" y="3"/>
                </a:cxn>
                <a:cxn ang="0">
                  <a:pos x="123" y="0"/>
                </a:cxn>
                <a:cxn ang="0">
                  <a:pos x="125" y="6"/>
                </a:cxn>
                <a:cxn ang="0">
                  <a:pos x="120" y="11"/>
                </a:cxn>
                <a:cxn ang="0">
                  <a:pos x="123" y="32"/>
                </a:cxn>
                <a:cxn ang="0">
                  <a:pos x="116" y="39"/>
                </a:cxn>
                <a:cxn ang="0">
                  <a:pos x="107" y="39"/>
                </a:cxn>
                <a:cxn ang="0">
                  <a:pos x="101" y="45"/>
                </a:cxn>
                <a:cxn ang="0">
                  <a:pos x="99" y="56"/>
                </a:cxn>
                <a:cxn ang="0">
                  <a:pos x="93" y="56"/>
                </a:cxn>
                <a:cxn ang="0">
                  <a:pos x="94" y="66"/>
                </a:cxn>
                <a:cxn ang="0">
                  <a:pos x="88" y="68"/>
                </a:cxn>
                <a:cxn ang="0">
                  <a:pos x="86" y="80"/>
                </a:cxn>
                <a:cxn ang="0">
                  <a:pos x="72" y="85"/>
                </a:cxn>
                <a:cxn ang="0">
                  <a:pos x="70" y="91"/>
                </a:cxn>
                <a:cxn ang="0">
                  <a:pos x="57" y="94"/>
                </a:cxn>
              </a:cxnLst>
              <a:rect l="0" t="0" r="r" b="b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auto">
            <a:xfrm rot="21439583">
              <a:off x="3921661" y="5939952"/>
              <a:ext cx="492055" cy="475105"/>
            </a:xfrm>
            <a:custGeom>
              <a:avLst/>
              <a:gdLst/>
              <a:ahLst/>
              <a:cxnLst>
                <a:cxn ang="0">
                  <a:pos x="18" y="84"/>
                </a:cxn>
                <a:cxn ang="0">
                  <a:pos x="15" y="82"/>
                </a:cxn>
                <a:cxn ang="0">
                  <a:pos x="0" y="64"/>
                </a:cxn>
                <a:cxn ang="0">
                  <a:pos x="13" y="61"/>
                </a:cxn>
                <a:cxn ang="0">
                  <a:pos x="15" y="55"/>
                </a:cxn>
                <a:cxn ang="0">
                  <a:pos x="29" y="50"/>
                </a:cxn>
                <a:cxn ang="0">
                  <a:pos x="31" y="38"/>
                </a:cxn>
                <a:cxn ang="0">
                  <a:pos x="37" y="36"/>
                </a:cxn>
                <a:cxn ang="0">
                  <a:pos x="36" y="26"/>
                </a:cxn>
                <a:cxn ang="0">
                  <a:pos x="42" y="26"/>
                </a:cxn>
                <a:cxn ang="0">
                  <a:pos x="44" y="15"/>
                </a:cxn>
                <a:cxn ang="0">
                  <a:pos x="50" y="9"/>
                </a:cxn>
                <a:cxn ang="0">
                  <a:pos x="59" y="9"/>
                </a:cxn>
                <a:cxn ang="0">
                  <a:pos x="66" y="2"/>
                </a:cxn>
                <a:cxn ang="0">
                  <a:pos x="66" y="0"/>
                </a:cxn>
                <a:cxn ang="0">
                  <a:pos x="73" y="2"/>
                </a:cxn>
                <a:cxn ang="0">
                  <a:pos x="80" y="7"/>
                </a:cxn>
                <a:cxn ang="0">
                  <a:pos x="81" y="18"/>
                </a:cxn>
                <a:cxn ang="0">
                  <a:pos x="86" y="24"/>
                </a:cxn>
                <a:cxn ang="0">
                  <a:pos x="88" y="30"/>
                </a:cxn>
                <a:cxn ang="0">
                  <a:pos x="86" y="37"/>
                </a:cxn>
                <a:cxn ang="0">
                  <a:pos x="80" y="47"/>
                </a:cxn>
                <a:cxn ang="0">
                  <a:pos x="73" y="49"/>
                </a:cxn>
                <a:cxn ang="0">
                  <a:pos x="64" y="52"/>
                </a:cxn>
                <a:cxn ang="0">
                  <a:pos x="55" y="56"/>
                </a:cxn>
                <a:cxn ang="0">
                  <a:pos x="53" y="62"/>
                </a:cxn>
                <a:cxn ang="0">
                  <a:pos x="70" y="62"/>
                </a:cxn>
                <a:cxn ang="0">
                  <a:pos x="71" y="68"/>
                </a:cxn>
                <a:cxn ang="0">
                  <a:pos x="78" y="70"/>
                </a:cxn>
                <a:cxn ang="0">
                  <a:pos x="74" y="77"/>
                </a:cxn>
                <a:cxn ang="0">
                  <a:pos x="67" y="84"/>
                </a:cxn>
                <a:cxn ang="0">
                  <a:pos x="66" y="90"/>
                </a:cxn>
                <a:cxn ang="0">
                  <a:pos x="65" y="98"/>
                </a:cxn>
                <a:cxn ang="0">
                  <a:pos x="57" y="96"/>
                </a:cxn>
                <a:cxn ang="0">
                  <a:pos x="50" y="92"/>
                </a:cxn>
                <a:cxn ang="0">
                  <a:pos x="42" y="90"/>
                </a:cxn>
                <a:cxn ang="0">
                  <a:pos x="35" y="89"/>
                </a:cxn>
                <a:cxn ang="0">
                  <a:pos x="29" y="82"/>
                </a:cxn>
                <a:cxn ang="0">
                  <a:pos x="18" y="84"/>
                </a:cxn>
              </a:cxnLst>
              <a:rect l="0" t="0" r="r" b="b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2" name="Freeform 18"/>
            <p:cNvSpPr>
              <a:spLocks/>
            </p:cNvSpPr>
            <p:nvPr/>
          </p:nvSpPr>
          <p:spPr bwMode="auto">
            <a:xfrm rot="21439583">
              <a:off x="4291159" y="6194786"/>
              <a:ext cx="252028" cy="23159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2" y="8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33" y="8"/>
                </a:cxn>
                <a:cxn ang="0">
                  <a:pos x="35" y="16"/>
                </a:cxn>
                <a:cxn ang="0">
                  <a:pos x="44" y="21"/>
                </a:cxn>
                <a:cxn ang="0">
                  <a:pos x="42" y="34"/>
                </a:cxn>
                <a:cxn ang="0">
                  <a:pos x="35" y="37"/>
                </a:cxn>
                <a:cxn ang="0">
                  <a:pos x="37" y="49"/>
                </a:cxn>
                <a:cxn ang="0">
                  <a:pos x="34" y="48"/>
                </a:cxn>
                <a:cxn ang="0">
                  <a:pos x="19" y="48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1" y="33"/>
                </a:cxn>
                <a:cxn ang="0">
                  <a:pos x="2" y="27"/>
                </a:cxn>
                <a:cxn ang="0">
                  <a:pos x="9" y="20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1"/>
                </a:cxn>
              </a:cxnLst>
              <a:rect l="0" t="0" r="r" b="b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3" name="Freeform 19"/>
            <p:cNvSpPr>
              <a:spLocks/>
            </p:cNvSpPr>
            <p:nvPr/>
          </p:nvSpPr>
          <p:spPr bwMode="auto">
            <a:xfrm rot="21439583">
              <a:off x="4037849" y="6311045"/>
              <a:ext cx="860096" cy="405286"/>
            </a:xfrm>
            <a:custGeom>
              <a:avLst/>
              <a:gdLst/>
              <a:ahLst/>
              <a:cxnLst>
                <a:cxn ang="0">
                  <a:pos x="154" y="30"/>
                </a:cxn>
                <a:cxn ang="0">
                  <a:pos x="142" y="32"/>
                </a:cxn>
                <a:cxn ang="0">
                  <a:pos x="126" y="33"/>
                </a:cxn>
                <a:cxn ang="0">
                  <a:pos x="58" y="32"/>
                </a:cxn>
                <a:cxn ang="0">
                  <a:pos x="114" y="58"/>
                </a:cxn>
                <a:cxn ang="0">
                  <a:pos x="116" y="64"/>
                </a:cxn>
                <a:cxn ang="0">
                  <a:pos x="113" y="72"/>
                </a:cxn>
                <a:cxn ang="0">
                  <a:pos x="88" y="72"/>
                </a:cxn>
                <a:cxn ang="0">
                  <a:pos x="87" y="78"/>
                </a:cxn>
                <a:cxn ang="0">
                  <a:pos x="80" y="78"/>
                </a:cxn>
                <a:cxn ang="0">
                  <a:pos x="76" y="84"/>
                </a:cxn>
                <a:cxn ang="0">
                  <a:pos x="67" y="82"/>
                </a:cxn>
                <a:cxn ang="0">
                  <a:pos x="65" y="74"/>
                </a:cxn>
                <a:cxn ang="0">
                  <a:pos x="63" y="55"/>
                </a:cxn>
                <a:cxn ang="0">
                  <a:pos x="43" y="57"/>
                </a:cxn>
                <a:cxn ang="0">
                  <a:pos x="33" y="49"/>
                </a:cxn>
                <a:cxn ang="0">
                  <a:pos x="34" y="26"/>
                </a:cxn>
                <a:cxn ang="0">
                  <a:pos x="29" y="17"/>
                </a:cxn>
                <a:cxn ang="0">
                  <a:pos x="18" y="15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2" y="0"/>
                </a:cxn>
                <a:cxn ang="0">
                  <a:pos x="18" y="7"/>
                </a:cxn>
                <a:cxn ang="0">
                  <a:pos x="25" y="8"/>
                </a:cxn>
                <a:cxn ang="0">
                  <a:pos x="33" y="10"/>
                </a:cxn>
                <a:cxn ang="0">
                  <a:pos x="40" y="14"/>
                </a:cxn>
                <a:cxn ang="0">
                  <a:pos x="48" y="16"/>
                </a:cxn>
                <a:cxn ang="0">
                  <a:pos x="56" y="22"/>
                </a:cxn>
                <a:cxn ang="0">
                  <a:pos x="67" y="23"/>
                </a:cxn>
                <a:cxn ang="0">
                  <a:pos x="82" y="23"/>
                </a:cxn>
                <a:cxn ang="0">
                  <a:pos x="154" y="30"/>
                </a:cxn>
              </a:cxnLst>
              <a:rect l="0" t="0" r="r" b="b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5" name="Freeform 20"/>
            <p:cNvSpPr>
              <a:spLocks/>
            </p:cNvSpPr>
            <p:nvPr/>
          </p:nvSpPr>
          <p:spPr bwMode="auto">
            <a:xfrm rot="21439583">
              <a:off x="3440681" y="5018480"/>
              <a:ext cx="586066" cy="618146"/>
            </a:xfrm>
            <a:custGeom>
              <a:avLst/>
              <a:gdLst/>
              <a:ahLst/>
              <a:cxnLst>
                <a:cxn ang="0">
                  <a:pos x="16" y="130"/>
                </a:cxn>
                <a:cxn ang="0">
                  <a:pos x="24" y="128"/>
                </a:cxn>
                <a:cxn ang="0">
                  <a:pos x="24" y="122"/>
                </a:cxn>
                <a:cxn ang="0">
                  <a:pos x="28" y="120"/>
                </a:cxn>
                <a:cxn ang="0">
                  <a:pos x="28" y="109"/>
                </a:cxn>
                <a:cxn ang="0">
                  <a:pos x="44" y="106"/>
                </a:cxn>
                <a:cxn ang="0">
                  <a:pos x="49" y="102"/>
                </a:cxn>
                <a:cxn ang="0">
                  <a:pos x="61" y="102"/>
                </a:cxn>
                <a:cxn ang="0">
                  <a:pos x="69" y="95"/>
                </a:cxn>
                <a:cxn ang="0">
                  <a:pos x="73" y="86"/>
                </a:cxn>
                <a:cxn ang="0">
                  <a:pos x="81" y="84"/>
                </a:cxn>
                <a:cxn ang="0">
                  <a:pos x="84" y="78"/>
                </a:cxn>
                <a:cxn ang="0">
                  <a:pos x="83" y="71"/>
                </a:cxn>
                <a:cxn ang="0">
                  <a:pos x="89" y="65"/>
                </a:cxn>
                <a:cxn ang="0">
                  <a:pos x="101" y="65"/>
                </a:cxn>
                <a:cxn ang="0">
                  <a:pos x="100" y="53"/>
                </a:cxn>
                <a:cxn ang="0">
                  <a:pos x="101" y="46"/>
                </a:cxn>
                <a:cxn ang="0">
                  <a:pos x="104" y="39"/>
                </a:cxn>
                <a:cxn ang="0">
                  <a:pos x="105" y="23"/>
                </a:cxn>
                <a:cxn ang="0">
                  <a:pos x="103" y="22"/>
                </a:cxn>
                <a:cxn ang="0">
                  <a:pos x="98" y="13"/>
                </a:cxn>
                <a:cxn ang="0">
                  <a:pos x="88" y="13"/>
                </a:cxn>
                <a:cxn ang="0">
                  <a:pos x="82" y="1"/>
                </a:cxn>
                <a:cxn ang="0">
                  <a:pos x="75" y="6"/>
                </a:cxn>
                <a:cxn ang="0">
                  <a:pos x="58" y="3"/>
                </a:cxn>
                <a:cxn ang="0">
                  <a:pos x="53" y="11"/>
                </a:cxn>
                <a:cxn ang="0">
                  <a:pos x="44" y="13"/>
                </a:cxn>
                <a:cxn ang="0">
                  <a:pos x="40" y="22"/>
                </a:cxn>
                <a:cxn ang="0">
                  <a:pos x="32" y="15"/>
                </a:cxn>
                <a:cxn ang="0">
                  <a:pos x="32" y="15"/>
                </a:cxn>
                <a:cxn ang="0">
                  <a:pos x="28" y="20"/>
                </a:cxn>
                <a:cxn ang="0">
                  <a:pos x="30" y="26"/>
                </a:cxn>
                <a:cxn ang="0">
                  <a:pos x="22" y="27"/>
                </a:cxn>
                <a:cxn ang="0">
                  <a:pos x="12" y="32"/>
                </a:cxn>
                <a:cxn ang="0">
                  <a:pos x="13" y="40"/>
                </a:cxn>
                <a:cxn ang="0">
                  <a:pos x="22" y="40"/>
                </a:cxn>
                <a:cxn ang="0">
                  <a:pos x="23" y="47"/>
                </a:cxn>
                <a:cxn ang="0">
                  <a:pos x="30" y="50"/>
                </a:cxn>
                <a:cxn ang="0">
                  <a:pos x="32" y="61"/>
                </a:cxn>
                <a:cxn ang="0">
                  <a:pos x="29" y="68"/>
                </a:cxn>
                <a:cxn ang="0">
                  <a:pos x="25" y="69"/>
                </a:cxn>
                <a:cxn ang="0">
                  <a:pos x="26" y="79"/>
                </a:cxn>
                <a:cxn ang="0">
                  <a:pos x="22" y="83"/>
                </a:cxn>
                <a:cxn ang="0">
                  <a:pos x="7" y="86"/>
                </a:cxn>
                <a:cxn ang="0">
                  <a:pos x="6" y="92"/>
                </a:cxn>
                <a:cxn ang="0">
                  <a:pos x="16" y="95"/>
                </a:cxn>
                <a:cxn ang="0">
                  <a:pos x="19" y="100"/>
                </a:cxn>
                <a:cxn ang="0">
                  <a:pos x="12" y="101"/>
                </a:cxn>
                <a:cxn ang="0">
                  <a:pos x="10" y="109"/>
                </a:cxn>
                <a:cxn ang="0">
                  <a:pos x="2" y="112"/>
                </a:cxn>
                <a:cxn ang="0">
                  <a:pos x="2" y="121"/>
                </a:cxn>
                <a:cxn ang="0">
                  <a:pos x="10" y="121"/>
                </a:cxn>
                <a:cxn ang="0">
                  <a:pos x="16" y="125"/>
                </a:cxn>
                <a:cxn ang="0">
                  <a:pos x="16" y="130"/>
                </a:cxn>
              </a:cxnLst>
              <a:rect l="0" t="0" r="r" b="b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6" name="Freeform 21"/>
            <p:cNvSpPr>
              <a:spLocks/>
            </p:cNvSpPr>
            <p:nvPr/>
          </p:nvSpPr>
          <p:spPr bwMode="auto">
            <a:xfrm rot="21439583">
              <a:off x="3372990" y="5323439"/>
              <a:ext cx="688076" cy="502351"/>
            </a:xfrm>
            <a:custGeom>
              <a:avLst/>
              <a:gdLst/>
              <a:ahLst/>
              <a:cxnLst>
                <a:cxn ang="0">
                  <a:pos x="29" y="66"/>
                </a:cxn>
                <a:cxn ang="0">
                  <a:pos x="37" y="64"/>
                </a:cxn>
                <a:cxn ang="0">
                  <a:pos x="37" y="58"/>
                </a:cxn>
                <a:cxn ang="0">
                  <a:pos x="41" y="56"/>
                </a:cxn>
                <a:cxn ang="0">
                  <a:pos x="41" y="45"/>
                </a:cxn>
                <a:cxn ang="0">
                  <a:pos x="57" y="42"/>
                </a:cxn>
                <a:cxn ang="0">
                  <a:pos x="62" y="38"/>
                </a:cxn>
                <a:cxn ang="0">
                  <a:pos x="74" y="38"/>
                </a:cxn>
                <a:cxn ang="0">
                  <a:pos x="82" y="31"/>
                </a:cxn>
                <a:cxn ang="0">
                  <a:pos x="86" y="22"/>
                </a:cxn>
                <a:cxn ang="0">
                  <a:pos x="94" y="20"/>
                </a:cxn>
                <a:cxn ang="0">
                  <a:pos x="97" y="14"/>
                </a:cxn>
                <a:cxn ang="0">
                  <a:pos x="96" y="7"/>
                </a:cxn>
                <a:cxn ang="0">
                  <a:pos x="102" y="1"/>
                </a:cxn>
                <a:cxn ang="0">
                  <a:pos x="112" y="2"/>
                </a:cxn>
                <a:cxn ang="0">
                  <a:pos x="114" y="8"/>
                </a:cxn>
                <a:cxn ang="0">
                  <a:pos x="119" y="13"/>
                </a:cxn>
                <a:cxn ang="0">
                  <a:pos x="123" y="20"/>
                </a:cxn>
                <a:cxn ang="0">
                  <a:pos x="118" y="28"/>
                </a:cxn>
                <a:cxn ang="0">
                  <a:pos x="111" y="33"/>
                </a:cxn>
                <a:cxn ang="0">
                  <a:pos x="115" y="40"/>
                </a:cxn>
                <a:cxn ang="0">
                  <a:pos x="116" y="48"/>
                </a:cxn>
                <a:cxn ang="0">
                  <a:pos x="112" y="55"/>
                </a:cxn>
                <a:cxn ang="0">
                  <a:pos x="104" y="54"/>
                </a:cxn>
                <a:cxn ang="0">
                  <a:pos x="104" y="60"/>
                </a:cxn>
                <a:cxn ang="0">
                  <a:pos x="96" y="64"/>
                </a:cxn>
                <a:cxn ang="0">
                  <a:pos x="88" y="70"/>
                </a:cxn>
                <a:cxn ang="0">
                  <a:pos x="82" y="72"/>
                </a:cxn>
                <a:cxn ang="0">
                  <a:pos x="79" y="79"/>
                </a:cxn>
                <a:cxn ang="0">
                  <a:pos x="71" y="80"/>
                </a:cxn>
                <a:cxn ang="0">
                  <a:pos x="69" y="86"/>
                </a:cxn>
                <a:cxn ang="0">
                  <a:pos x="61" y="86"/>
                </a:cxn>
                <a:cxn ang="0">
                  <a:pos x="61" y="92"/>
                </a:cxn>
                <a:cxn ang="0">
                  <a:pos x="52" y="87"/>
                </a:cxn>
                <a:cxn ang="0">
                  <a:pos x="45" y="94"/>
                </a:cxn>
                <a:cxn ang="0">
                  <a:pos x="39" y="98"/>
                </a:cxn>
                <a:cxn ang="0">
                  <a:pos x="31" y="98"/>
                </a:cxn>
                <a:cxn ang="0">
                  <a:pos x="30" y="104"/>
                </a:cxn>
                <a:cxn ang="0">
                  <a:pos x="14" y="104"/>
                </a:cxn>
                <a:cxn ang="0">
                  <a:pos x="5" y="104"/>
                </a:cxn>
                <a:cxn ang="0">
                  <a:pos x="7" y="102"/>
                </a:cxn>
                <a:cxn ang="0">
                  <a:pos x="4" y="96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4" y="90"/>
                </a:cxn>
                <a:cxn ang="0">
                  <a:pos x="15" y="80"/>
                </a:cxn>
                <a:cxn ang="0">
                  <a:pos x="21" y="72"/>
                </a:cxn>
                <a:cxn ang="0">
                  <a:pos x="28" y="68"/>
                </a:cxn>
                <a:cxn ang="0">
                  <a:pos x="29" y="66"/>
                </a:cxn>
              </a:cxnLst>
              <a:rect l="0" t="0" r="r" b="b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7" name="Freeform 24"/>
            <p:cNvSpPr>
              <a:spLocks noEditPoints="1"/>
            </p:cNvSpPr>
            <p:nvPr/>
          </p:nvSpPr>
          <p:spPr bwMode="auto">
            <a:xfrm rot="21439583">
              <a:off x="3976640" y="4919448"/>
              <a:ext cx="296033" cy="664125"/>
            </a:xfrm>
            <a:custGeom>
              <a:avLst/>
              <a:gdLst/>
              <a:ahLst/>
              <a:cxnLst>
                <a:cxn ang="0">
                  <a:pos x="45" y="7"/>
                </a:cxn>
                <a:cxn ang="0">
                  <a:pos x="49" y="13"/>
                </a:cxn>
                <a:cxn ang="0">
                  <a:pos x="51" y="21"/>
                </a:cxn>
                <a:cxn ang="0">
                  <a:pos x="52" y="30"/>
                </a:cxn>
                <a:cxn ang="0">
                  <a:pos x="45" y="33"/>
                </a:cxn>
                <a:cxn ang="0">
                  <a:pos x="38" y="43"/>
                </a:cxn>
                <a:cxn ang="0">
                  <a:pos x="35" y="53"/>
                </a:cxn>
                <a:cxn ang="0">
                  <a:pos x="37" y="64"/>
                </a:cxn>
                <a:cxn ang="0">
                  <a:pos x="43" y="74"/>
                </a:cxn>
                <a:cxn ang="0">
                  <a:pos x="45" y="84"/>
                </a:cxn>
                <a:cxn ang="0">
                  <a:pos x="39" y="97"/>
                </a:cxn>
                <a:cxn ang="0">
                  <a:pos x="33" y="105"/>
                </a:cxn>
                <a:cxn ang="0">
                  <a:pos x="28" y="113"/>
                </a:cxn>
                <a:cxn ang="0">
                  <a:pos x="38" y="124"/>
                </a:cxn>
                <a:cxn ang="0">
                  <a:pos x="38" y="139"/>
                </a:cxn>
                <a:cxn ang="0">
                  <a:pos x="35" y="139"/>
                </a:cxn>
                <a:cxn ang="0">
                  <a:pos x="29" y="139"/>
                </a:cxn>
                <a:cxn ang="0">
                  <a:pos x="24" y="136"/>
                </a:cxn>
                <a:cxn ang="0">
                  <a:pos x="25" y="124"/>
                </a:cxn>
                <a:cxn ang="0">
                  <a:pos x="16" y="122"/>
                </a:cxn>
                <a:cxn ang="0">
                  <a:pos x="5" y="124"/>
                </a:cxn>
                <a:cxn ang="0">
                  <a:pos x="5" y="122"/>
                </a:cxn>
                <a:cxn ang="0">
                  <a:pos x="1" y="115"/>
                </a:cxn>
                <a:cxn ang="0">
                  <a:pos x="8" y="110"/>
                </a:cxn>
                <a:cxn ang="0">
                  <a:pos x="13" y="102"/>
                </a:cxn>
                <a:cxn ang="0">
                  <a:pos x="9" y="95"/>
                </a:cxn>
                <a:cxn ang="0">
                  <a:pos x="4" y="90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4" y="83"/>
                </a:cxn>
                <a:cxn ang="0">
                  <a:pos x="3" y="71"/>
                </a:cxn>
                <a:cxn ang="0">
                  <a:pos x="4" y="64"/>
                </a:cxn>
                <a:cxn ang="0">
                  <a:pos x="7" y="57"/>
                </a:cxn>
                <a:cxn ang="0">
                  <a:pos x="8" y="41"/>
                </a:cxn>
                <a:cxn ang="0">
                  <a:pos x="13" y="38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6" y="2"/>
                </a:cxn>
                <a:cxn ang="0">
                  <a:pos x="22" y="2"/>
                </a:cxn>
                <a:cxn ang="0">
                  <a:pos x="26" y="11"/>
                </a:cxn>
                <a:cxn ang="0">
                  <a:pos x="38" y="10"/>
                </a:cxn>
                <a:cxn ang="0">
                  <a:pos x="45" y="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5" y="124"/>
                </a:cxn>
                <a:cxn ang="0">
                  <a:pos x="6" y="127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41"/>
                </a:cxn>
              </a:cxnLst>
              <a:rect l="0" t="0" r="r" b="b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lnTo>
                    <a:pt x="2" y="84"/>
                  </a:ln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8" name="Freeform 25"/>
            <p:cNvSpPr>
              <a:spLocks noEditPoints="1"/>
            </p:cNvSpPr>
            <p:nvPr/>
          </p:nvSpPr>
          <p:spPr bwMode="auto">
            <a:xfrm rot="21439583">
              <a:off x="4380244" y="5896375"/>
              <a:ext cx="786088" cy="556842"/>
            </a:xfrm>
            <a:custGeom>
              <a:avLst/>
              <a:gdLst/>
              <a:ahLst/>
              <a:cxnLst>
                <a:cxn ang="0">
                  <a:pos x="141" y="53"/>
                </a:cxn>
                <a:cxn ang="0">
                  <a:pos x="131" y="59"/>
                </a:cxn>
                <a:cxn ang="0">
                  <a:pos x="128" y="68"/>
                </a:cxn>
                <a:cxn ang="0">
                  <a:pos x="125" y="78"/>
                </a:cxn>
                <a:cxn ang="0">
                  <a:pos x="117" y="88"/>
                </a:cxn>
                <a:cxn ang="0">
                  <a:pos x="114" y="96"/>
                </a:cxn>
                <a:cxn ang="0">
                  <a:pos x="104" y="105"/>
                </a:cxn>
                <a:cxn ang="0">
                  <a:pos x="91" y="114"/>
                </a:cxn>
                <a:cxn ang="0">
                  <a:pos x="89" y="115"/>
                </a:cxn>
                <a:cxn ang="0">
                  <a:pos x="17" y="108"/>
                </a:cxn>
                <a:cxn ang="0">
                  <a:pos x="20" y="109"/>
                </a:cxn>
                <a:cxn ang="0">
                  <a:pos x="18" y="97"/>
                </a:cxn>
                <a:cxn ang="0">
                  <a:pos x="25" y="94"/>
                </a:cxn>
                <a:cxn ang="0">
                  <a:pos x="27" y="81"/>
                </a:cxn>
                <a:cxn ang="0">
                  <a:pos x="18" y="76"/>
                </a:cxn>
                <a:cxn ang="0">
                  <a:pos x="16" y="68"/>
                </a:cxn>
                <a:cxn ang="0">
                  <a:pos x="8" y="65"/>
                </a:cxn>
                <a:cxn ang="0">
                  <a:pos x="4" y="60"/>
                </a:cxn>
                <a:cxn ang="0">
                  <a:pos x="19" y="56"/>
                </a:cxn>
                <a:cxn ang="0">
                  <a:pos x="4" y="40"/>
                </a:cxn>
                <a:cxn ang="0">
                  <a:pos x="6" y="33"/>
                </a:cxn>
                <a:cxn ang="0">
                  <a:pos x="11" y="27"/>
                </a:cxn>
                <a:cxn ang="0">
                  <a:pos x="12" y="9"/>
                </a:cxn>
                <a:cxn ang="0">
                  <a:pos x="18" y="2"/>
                </a:cxn>
                <a:cxn ang="0">
                  <a:pos x="39" y="1"/>
                </a:cxn>
                <a:cxn ang="0">
                  <a:pos x="40" y="6"/>
                </a:cxn>
                <a:cxn ang="0">
                  <a:pos x="34" y="11"/>
                </a:cxn>
                <a:cxn ang="0">
                  <a:pos x="35" y="20"/>
                </a:cxn>
                <a:cxn ang="0">
                  <a:pos x="41" y="20"/>
                </a:cxn>
                <a:cxn ang="0">
                  <a:pos x="45" y="26"/>
                </a:cxn>
                <a:cxn ang="0">
                  <a:pos x="44" y="32"/>
                </a:cxn>
                <a:cxn ang="0">
                  <a:pos x="53" y="45"/>
                </a:cxn>
                <a:cxn ang="0">
                  <a:pos x="59" y="51"/>
                </a:cxn>
                <a:cxn ang="0">
                  <a:pos x="63" y="57"/>
                </a:cxn>
                <a:cxn ang="0">
                  <a:pos x="71" y="58"/>
                </a:cxn>
                <a:cxn ang="0">
                  <a:pos x="79" y="51"/>
                </a:cxn>
                <a:cxn ang="0">
                  <a:pos x="80" y="44"/>
                </a:cxn>
                <a:cxn ang="0">
                  <a:pos x="86" y="39"/>
                </a:cxn>
                <a:cxn ang="0">
                  <a:pos x="91" y="43"/>
                </a:cxn>
                <a:cxn ang="0">
                  <a:pos x="107" y="40"/>
                </a:cxn>
                <a:cxn ang="0">
                  <a:pos x="111" y="47"/>
                </a:cxn>
                <a:cxn ang="0">
                  <a:pos x="118" y="56"/>
                </a:cxn>
                <a:cxn ang="0">
                  <a:pos x="128" y="53"/>
                </a:cxn>
                <a:cxn ang="0">
                  <a:pos x="141" y="53"/>
                </a:cxn>
                <a:cxn ang="0">
                  <a:pos x="1" y="62"/>
                </a:cxn>
                <a:cxn ang="0">
                  <a:pos x="1" y="62"/>
                </a:cxn>
              </a:cxnLst>
              <a:rect l="0" t="0" r="r" b="b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69" name="Freeform 26"/>
            <p:cNvSpPr>
              <a:spLocks noEditPoints="1"/>
            </p:cNvSpPr>
            <p:nvPr/>
          </p:nvSpPr>
          <p:spPr bwMode="auto">
            <a:xfrm rot="21439583">
              <a:off x="4440373" y="3717130"/>
              <a:ext cx="854096" cy="1064302"/>
            </a:xfrm>
            <a:custGeom>
              <a:avLst/>
              <a:gdLst/>
              <a:ahLst/>
              <a:cxnLst>
                <a:cxn ang="0">
                  <a:pos x="151" y="126"/>
                </a:cxn>
                <a:cxn ang="0">
                  <a:pos x="149" y="137"/>
                </a:cxn>
                <a:cxn ang="0">
                  <a:pos x="140" y="167"/>
                </a:cxn>
                <a:cxn ang="0">
                  <a:pos x="136" y="192"/>
                </a:cxn>
                <a:cxn ang="0">
                  <a:pos x="128" y="209"/>
                </a:cxn>
                <a:cxn ang="0">
                  <a:pos x="95" y="211"/>
                </a:cxn>
                <a:cxn ang="0">
                  <a:pos x="78" y="220"/>
                </a:cxn>
                <a:cxn ang="0">
                  <a:pos x="65" y="215"/>
                </a:cxn>
                <a:cxn ang="0">
                  <a:pos x="55" y="219"/>
                </a:cxn>
                <a:cxn ang="0">
                  <a:pos x="41" y="216"/>
                </a:cxn>
                <a:cxn ang="0">
                  <a:pos x="41" y="201"/>
                </a:cxn>
                <a:cxn ang="0">
                  <a:pos x="39" y="184"/>
                </a:cxn>
                <a:cxn ang="0">
                  <a:pos x="37" y="170"/>
                </a:cxn>
                <a:cxn ang="0">
                  <a:pos x="27" y="153"/>
                </a:cxn>
                <a:cxn ang="0">
                  <a:pos x="26" y="129"/>
                </a:cxn>
                <a:cxn ang="0">
                  <a:pos x="17" y="111"/>
                </a:cxn>
                <a:cxn ang="0">
                  <a:pos x="18" y="89"/>
                </a:cxn>
                <a:cxn ang="0">
                  <a:pos x="14" y="7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19" y="50"/>
                </a:cxn>
                <a:cxn ang="0">
                  <a:pos x="32" y="32"/>
                </a:cxn>
                <a:cxn ang="0">
                  <a:pos x="33" y="41"/>
                </a:cxn>
                <a:cxn ang="0">
                  <a:pos x="48" y="51"/>
                </a:cxn>
                <a:cxn ang="0">
                  <a:pos x="63" y="51"/>
                </a:cxn>
                <a:cxn ang="0">
                  <a:pos x="72" y="18"/>
                </a:cxn>
                <a:cxn ang="0">
                  <a:pos x="94" y="11"/>
                </a:cxn>
                <a:cxn ang="0">
                  <a:pos x="124" y="3"/>
                </a:cxn>
                <a:cxn ang="0">
                  <a:pos x="130" y="3"/>
                </a:cxn>
                <a:cxn ang="0">
                  <a:pos x="143" y="30"/>
                </a:cxn>
                <a:cxn ang="0">
                  <a:pos x="146" y="48"/>
                </a:cxn>
                <a:cxn ang="0">
                  <a:pos x="137" y="59"/>
                </a:cxn>
                <a:cxn ang="0">
                  <a:pos x="140" y="84"/>
                </a:cxn>
                <a:cxn ang="0">
                  <a:pos x="134" y="101"/>
                </a:cxn>
                <a:cxn ang="0">
                  <a:pos x="133" y="123"/>
                </a:cxn>
                <a:cxn ang="0">
                  <a:pos x="130" y="3"/>
                </a:cxn>
                <a:cxn ang="0">
                  <a:pos x="130" y="3"/>
                </a:cxn>
                <a:cxn ang="0">
                  <a:pos x="130" y="1"/>
                </a:cxn>
                <a:cxn ang="0">
                  <a:pos x="130" y="1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28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2" y="46"/>
                </a:cxn>
              </a:cxnLst>
              <a:rect l="0" t="0" r="r" b="b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lnTo>
                    <a:pt x="41" y="216"/>
                  </a:ln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lnTo>
                    <a:pt x="8" y="48"/>
                  </a:ln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lnTo>
                    <a:pt x="130" y="3"/>
                  </a:ln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0" name="Freeform 27"/>
            <p:cNvSpPr>
              <a:spLocks noEditPoints="1"/>
            </p:cNvSpPr>
            <p:nvPr/>
          </p:nvSpPr>
          <p:spPr bwMode="auto">
            <a:xfrm rot="21439583">
              <a:off x="4121880" y="4514989"/>
              <a:ext cx="620069" cy="1168178"/>
            </a:xfrm>
            <a:custGeom>
              <a:avLst/>
              <a:gdLst/>
              <a:ahLst/>
              <a:cxnLst>
                <a:cxn ang="0">
                  <a:pos x="29" y="37"/>
                </a:cxn>
                <a:cxn ang="0">
                  <a:pos x="29" y="57"/>
                </a:cxn>
                <a:cxn ang="0">
                  <a:pos x="29" y="84"/>
                </a:cxn>
                <a:cxn ang="0">
                  <a:pos x="22" y="95"/>
                </a:cxn>
                <a:cxn ang="0">
                  <a:pos x="25" y="112"/>
                </a:cxn>
                <a:cxn ang="0">
                  <a:pos x="11" y="125"/>
                </a:cxn>
                <a:cxn ang="0">
                  <a:pos x="10" y="146"/>
                </a:cxn>
                <a:cxn ang="0">
                  <a:pos x="18" y="166"/>
                </a:cxn>
                <a:cxn ang="0">
                  <a:pos x="6" y="187"/>
                </a:cxn>
                <a:cxn ang="0">
                  <a:pos x="11" y="206"/>
                </a:cxn>
                <a:cxn ang="0">
                  <a:pos x="17" y="223"/>
                </a:cxn>
                <a:cxn ang="0">
                  <a:pos x="21" y="239"/>
                </a:cxn>
                <a:cxn ang="0">
                  <a:pos x="30" y="236"/>
                </a:cxn>
                <a:cxn ang="0">
                  <a:pos x="45" y="226"/>
                </a:cxn>
                <a:cxn ang="0">
                  <a:pos x="60" y="215"/>
                </a:cxn>
                <a:cxn ang="0">
                  <a:pos x="69" y="204"/>
                </a:cxn>
                <a:cxn ang="0">
                  <a:pos x="68" y="195"/>
                </a:cxn>
                <a:cxn ang="0">
                  <a:pos x="57" y="176"/>
                </a:cxn>
                <a:cxn ang="0">
                  <a:pos x="60" y="153"/>
                </a:cxn>
                <a:cxn ang="0">
                  <a:pos x="58" y="127"/>
                </a:cxn>
                <a:cxn ang="0">
                  <a:pos x="76" y="116"/>
                </a:cxn>
                <a:cxn ang="0">
                  <a:pos x="76" y="100"/>
                </a:cxn>
                <a:cxn ang="0">
                  <a:pos x="95" y="96"/>
                </a:cxn>
                <a:cxn ang="0">
                  <a:pos x="109" y="85"/>
                </a:cxn>
                <a:cxn ang="0">
                  <a:pos x="109" y="58"/>
                </a:cxn>
                <a:cxn ang="0">
                  <a:pos x="102" y="47"/>
                </a:cxn>
                <a:cxn ang="0">
                  <a:pos x="92" y="39"/>
                </a:cxn>
                <a:cxn ang="0">
                  <a:pos x="89" y="30"/>
                </a:cxn>
                <a:cxn ang="0">
                  <a:pos x="81" y="13"/>
                </a:cxn>
                <a:cxn ang="0">
                  <a:pos x="72" y="18"/>
                </a:cxn>
                <a:cxn ang="0">
                  <a:pos x="50" y="21"/>
                </a:cxn>
                <a:cxn ang="0">
                  <a:pos x="34" y="1"/>
                </a:cxn>
                <a:cxn ang="0">
                  <a:pos x="18" y="8"/>
                </a:cxn>
                <a:cxn ang="0">
                  <a:pos x="11" y="221"/>
                </a:cxn>
              </a:cxnLst>
              <a:rect l="0" t="0" r="r" b="b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1" name="Freeform 29"/>
            <p:cNvSpPr>
              <a:spLocks noEditPoints="1"/>
            </p:cNvSpPr>
            <p:nvPr/>
          </p:nvSpPr>
          <p:spPr bwMode="auto">
            <a:xfrm rot="21439583">
              <a:off x="4791548" y="5206509"/>
              <a:ext cx="1122126" cy="941695"/>
            </a:xfrm>
            <a:custGeom>
              <a:avLst/>
              <a:gdLst/>
              <a:ahLst/>
              <a:cxnLst>
                <a:cxn ang="0">
                  <a:pos x="178" y="1"/>
                </a:cxn>
                <a:cxn ang="0">
                  <a:pos x="197" y="22"/>
                </a:cxn>
                <a:cxn ang="0">
                  <a:pos x="183" y="36"/>
                </a:cxn>
                <a:cxn ang="0">
                  <a:pos x="178" y="55"/>
                </a:cxn>
                <a:cxn ang="0">
                  <a:pos x="170" y="69"/>
                </a:cxn>
                <a:cxn ang="0">
                  <a:pos x="159" y="90"/>
                </a:cxn>
                <a:cxn ang="0">
                  <a:pos x="152" y="106"/>
                </a:cxn>
                <a:cxn ang="0">
                  <a:pos x="145" y="123"/>
                </a:cxn>
                <a:cxn ang="0">
                  <a:pos x="129" y="138"/>
                </a:cxn>
                <a:cxn ang="0">
                  <a:pos x="104" y="164"/>
                </a:cxn>
                <a:cxn ang="0">
                  <a:pos x="82" y="180"/>
                </a:cxn>
                <a:cxn ang="0">
                  <a:pos x="73" y="185"/>
                </a:cxn>
                <a:cxn ang="0">
                  <a:pos x="63" y="193"/>
                </a:cxn>
                <a:cxn ang="0">
                  <a:pos x="62" y="193"/>
                </a:cxn>
                <a:cxn ang="0">
                  <a:pos x="39" y="196"/>
                </a:cxn>
                <a:cxn ang="0">
                  <a:pos x="28" y="180"/>
                </a:cxn>
                <a:cxn ang="0">
                  <a:pos x="7" y="179"/>
                </a:cxn>
                <a:cxn ang="0">
                  <a:pos x="18" y="174"/>
                </a:cxn>
                <a:cxn ang="0">
                  <a:pos x="27" y="162"/>
                </a:cxn>
                <a:cxn ang="0">
                  <a:pos x="31" y="145"/>
                </a:cxn>
                <a:cxn ang="0">
                  <a:pos x="41" y="130"/>
                </a:cxn>
                <a:cxn ang="0">
                  <a:pos x="52" y="121"/>
                </a:cxn>
                <a:cxn ang="0">
                  <a:pos x="65" y="114"/>
                </a:cxn>
                <a:cxn ang="0">
                  <a:pos x="78" y="110"/>
                </a:cxn>
                <a:cxn ang="0">
                  <a:pos x="95" y="104"/>
                </a:cxn>
                <a:cxn ang="0">
                  <a:pos x="106" y="112"/>
                </a:cxn>
                <a:cxn ang="0">
                  <a:pos x="111" y="100"/>
                </a:cxn>
                <a:cxn ang="0">
                  <a:pos x="116" y="85"/>
                </a:cxn>
                <a:cxn ang="0">
                  <a:pos x="129" y="72"/>
                </a:cxn>
                <a:cxn ang="0">
                  <a:pos x="143" y="57"/>
                </a:cxn>
                <a:cxn ang="0">
                  <a:pos x="153" y="47"/>
                </a:cxn>
                <a:cxn ang="0">
                  <a:pos x="157" y="31"/>
                </a:cxn>
                <a:cxn ang="0">
                  <a:pos x="167" y="14"/>
                </a:cxn>
                <a:cxn ang="0">
                  <a:pos x="177" y="0"/>
                </a:cxn>
                <a:cxn ang="0">
                  <a:pos x="55" y="197"/>
                </a:cxn>
                <a:cxn ang="0">
                  <a:pos x="55" y="197"/>
                </a:cxn>
                <a:cxn ang="0">
                  <a:pos x="55" y="197"/>
                </a:cxn>
              </a:cxnLst>
              <a:rect l="0" t="0" r="r" b="b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2" name="Freeform 32"/>
            <p:cNvSpPr>
              <a:spLocks noEditPoints="1"/>
            </p:cNvSpPr>
            <p:nvPr/>
          </p:nvSpPr>
          <p:spPr bwMode="auto">
            <a:xfrm rot="21439583">
              <a:off x="3883639" y="5462975"/>
              <a:ext cx="1216136" cy="727131"/>
            </a:xfrm>
            <a:custGeom>
              <a:avLst/>
              <a:gdLst/>
              <a:ahLst/>
              <a:cxnLst>
                <a:cxn ang="0">
                  <a:pos x="97" y="121"/>
                </a:cxn>
                <a:cxn ang="0">
                  <a:pos x="104" y="96"/>
                </a:cxn>
                <a:cxn ang="0">
                  <a:pos x="126" y="100"/>
                </a:cxn>
                <a:cxn ang="0">
                  <a:pos x="121" y="114"/>
                </a:cxn>
                <a:cxn ang="0">
                  <a:pos x="131" y="120"/>
                </a:cxn>
                <a:cxn ang="0">
                  <a:pos x="139" y="139"/>
                </a:cxn>
                <a:cxn ang="0">
                  <a:pos x="149" y="151"/>
                </a:cxn>
                <a:cxn ang="0">
                  <a:pos x="165" y="145"/>
                </a:cxn>
                <a:cxn ang="0">
                  <a:pos x="175" y="130"/>
                </a:cxn>
                <a:cxn ang="0">
                  <a:pos x="185" y="121"/>
                </a:cxn>
                <a:cxn ang="0">
                  <a:pos x="196" y="104"/>
                </a:cxn>
                <a:cxn ang="0">
                  <a:pos x="202" y="96"/>
                </a:cxn>
                <a:cxn ang="0">
                  <a:pos x="216" y="83"/>
                </a:cxn>
                <a:cxn ang="0">
                  <a:pos x="209" y="70"/>
                </a:cxn>
                <a:cxn ang="0">
                  <a:pos x="205" y="60"/>
                </a:cxn>
                <a:cxn ang="0">
                  <a:pos x="196" y="63"/>
                </a:cxn>
                <a:cxn ang="0">
                  <a:pos x="198" y="50"/>
                </a:cxn>
                <a:cxn ang="0">
                  <a:pos x="189" y="43"/>
                </a:cxn>
                <a:cxn ang="0">
                  <a:pos x="190" y="53"/>
                </a:cxn>
                <a:cxn ang="0">
                  <a:pos x="184" y="63"/>
                </a:cxn>
                <a:cxn ang="0">
                  <a:pos x="170" y="56"/>
                </a:cxn>
                <a:cxn ang="0">
                  <a:pos x="157" y="63"/>
                </a:cxn>
                <a:cxn ang="0">
                  <a:pos x="142" y="53"/>
                </a:cxn>
                <a:cxn ang="0">
                  <a:pos x="125" y="38"/>
                </a:cxn>
                <a:cxn ang="0">
                  <a:pos x="117" y="3"/>
                </a:cxn>
                <a:cxn ang="0">
                  <a:pos x="108" y="14"/>
                </a:cxn>
                <a:cxn ang="0">
                  <a:pos x="93" y="25"/>
                </a:cxn>
                <a:cxn ang="0">
                  <a:pos x="78" y="35"/>
                </a:cxn>
                <a:cxn ang="0">
                  <a:pos x="69" y="38"/>
                </a:cxn>
                <a:cxn ang="0">
                  <a:pos x="65" y="22"/>
                </a:cxn>
                <a:cxn ang="0">
                  <a:pos x="50" y="20"/>
                </a:cxn>
                <a:cxn ang="0">
                  <a:pos x="46" y="5"/>
                </a:cxn>
                <a:cxn ang="0">
                  <a:pos x="26" y="5"/>
                </a:cxn>
                <a:cxn ang="0">
                  <a:pos x="23" y="18"/>
                </a:cxn>
                <a:cxn ang="0">
                  <a:pos x="15" y="18"/>
                </a:cxn>
                <a:cxn ang="0">
                  <a:pos x="26" y="27"/>
                </a:cxn>
                <a:cxn ang="0">
                  <a:pos x="24" y="35"/>
                </a:cxn>
                <a:cxn ang="0">
                  <a:pos x="33" y="40"/>
                </a:cxn>
                <a:cxn ang="0">
                  <a:pos x="32" y="54"/>
                </a:cxn>
                <a:cxn ang="0">
                  <a:pos x="25" y="64"/>
                </a:cxn>
                <a:cxn ang="0">
                  <a:pos x="16" y="67"/>
                </a:cxn>
                <a:cxn ang="0">
                  <a:pos x="5" y="77"/>
                </a:cxn>
                <a:cxn ang="0">
                  <a:pos x="23" y="93"/>
                </a:cxn>
                <a:cxn ang="0">
                  <a:pos x="40" y="83"/>
                </a:cxn>
                <a:cxn ang="0">
                  <a:pos x="53" y="76"/>
                </a:cxn>
                <a:cxn ang="0">
                  <a:pos x="70" y="67"/>
                </a:cxn>
                <a:cxn ang="0">
                  <a:pos x="67" y="78"/>
                </a:cxn>
                <a:cxn ang="0">
                  <a:pos x="77" y="99"/>
                </a:cxn>
                <a:cxn ang="0">
                  <a:pos x="85" y="115"/>
                </a:cxn>
                <a:cxn ang="0">
                  <a:pos x="91" y="123"/>
                </a:cxn>
                <a:cxn ang="0">
                  <a:pos x="70" y="99"/>
                </a:cxn>
                <a:cxn ang="0">
                  <a:pos x="70" y="99"/>
                </a:cxn>
                <a:cxn ang="0">
                  <a:pos x="70" y="99"/>
                </a:cxn>
              </a:cxnLst>
              <a:rect l="0" t="0" r="r" b="b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3" name="Freeform 39"/>
            <p:cNvSpPr>
              <a:spLocks/>
            </p:cNvSpPr>
            <p:nvPr/>
          </p:nvSpPr>
          <p:spPr bwMode="auto">
            <a:xfrm rot="21439583">
              <a:off x="2304712" y="3906331"/>
              <a:ext cx="814091" cy="1311220"/>
            </a:xfrm>
            <a:custGeom>
              <a:avLst/>
              <a:gdLst/>
              <a:ahLst/>
              <a:cxnLst>
                <a:cxn ang="0">
                  <a:pos x="4" y="241"/>
                </a:cxn>
                <a:cxn ang="0">
                  <a:pos x="4" y="232"/>
                </a:cxn>
                <a:cxn ang="0">
                  <a:pos x="9" y="217"/>
                </a:cxn>
                <a:cxn ang="0">
                  <a:pos x="21" y="213"/>
                </a:cxn>
                <a:cxn ang="0">
                  <a:pos x="19" y="193"/>
                </a:cxn>
                <a:cxn ang="0">
                  <a:pos x="15" y="176"/>
                </a:cxn>
                <a:cxn ang="0">
                  <a:pos x="31" y="167"/>
                </a:cxn>
                <a:cxn ang="0">
                  <a:pos x="37" y="152"/>
                </a:cxn>
                <a:cxn ang="0">
                  <a:pos x="45" y="143"/>
                </a:cxn>
                <a:cxn ang="0">
                  <a:pos x="56" y="148"/>
                </a:cxn>
                <a:cxn ang="0">
                  <a:pos x="64" y="137"/>
                </a:cxn>
                <a:cxn ang="0">
                  <a:pos x="72" y="124"/>
                </a:cxn>
                <a:cxn ang="0">
                  <a:pos x="80" y="116"/>
                </a:cxn>
                <a:cxn ang="0">
                  <a:pos x="79" y="98"/>
                </a:cxn>
                <a:cxn ang="0">
                  <a:pos x="71" y="87"/>
                </a:cxn>
                <a:cxn ang="0">
                  <a:pos x="65" y="79"/>
                </a:cxn>
                <a:cxn ang="0">
                  <a:pos x="75" y="73"/>
                </a:cxn>
                <a:cxn ang="0">
                  <a:pos x="60" y="63"/>
                </a:cxn>
                <a:cxn ang="0">
                  <a:pos x="77" y="40"/>
                </a:cxn>
                <a:cxn ang="0">
                  <a:pos x="90" y="18"/>
                </a:cxn>
                <a:cxn ang="0">
                  <a:pos x="101" y="1"/>
                </a:cxn>
                <a:cxn ang="0">
                  <a:pos x="121" y="5"/>
                </a:cxn>
                <a:cxn ang="0">
                  <a:pos x="138" y="12"/>
                </a:cxn>
                <a:cxn ang="0">
                  <a:pos x="145" y="26"/>
                </a:cxn>
                <a:cxn ang="0">
                  <a:pos x="139" y="53"/>
                </a:cxn>
                <a:cxn ang="0">
                  <a:pos x="135" y="70"/>
                </a:cxn>
                <a:cxn ang="0">
                  <a:pos x="126" y="85"/>
                </a:cxn>
                <a:cxn ang="0">
                  <a:pos x="123" y="104"/>
                </a:cxn>
                <a:cxn ang="0">
                  <a:pos x="120" y="127"/>
                </a:cxn>
                <a:cxn ang="0">
                  <a:pos x="122" y="144"/>
                </a:cxn>
                <a:cxn ang="0">
                  <a:pos x="126" y="160"/>
                </a:cxn>
                <a:cxn ang="0">
                  <a:pos x="126" y="171"/>
                </a:cxn>
                <a:cxn ang="0">
                  <a:pos x="116" y="173"/>
                </a:cxn>
                <a:cxn ang="0">
                  <a:pos x="107" y="175"/>
                </a:cxn>
                <a:cxn ang="0">
                  <a:pos x="94" y="194"/>
                </a:cxn>
                <a:cxn ang="0">
                  <a:pos x="84" y="203"/>
                </a:cxn>
                <a:cxn ang="0">
                  <a:pos x="94" y="217"/>
                </a:cxn>
                <a:cxn ang="0">
                  <a:pos x="98" y="238"/>
                </a:cxn>
                <a:cxn ang="0">
                  <a:pos x="86" y="243"/>
                </a:cxn>
                <a:cxn ang="0">
                  <a:pos x="70" y="232"/>
                </a:cxn>
                <a:cxn ang="0">
                  <a:pos x="75" y="250"/>
                </a:cxn>
                <a:cxn ang="0">
                  <a:pos x="82" y="272"/>
                </a:cxn>
                <a:cxn ang="0">
                  <a:pos x="68" y="270"/>
                </a:cxn>
                <a:cxn ang="0">
                  <a:pos x="56" y="273"/>
                </a:cxn>
                <a:cxn ang="0">
                  <a:pos x="54" y="257"/>
                </a:cxn>
                <a:cxn ang="0">
                  <a:pos x="36" y="255"/>
                </a:cxn>
                <a:cxn ang="0">
                  <a:pos x="26" y="247"/>
                </a:cxn>
                <a:cxn ang="0">
                  <a:pos x="15" y="240"/>
                </a:cxn>
              </a:cxnLst>
              <a:rect l="0" t="0" r="r" b="b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74" name="Freeform 11"/>
            <p:cNvSpPr>
              <a:spLocks/>
            </p:cNvSpPr>
            <p:nvPr/>
          </p:nvSpPr>
          <p:spPr bwMode="auto">
            <a:xfrm rot="21439583">
              <a:off x="4449147" y="1136389"/>
              <a:ext cx="1462164" cy="2828490"/>
            </a:xfrm>
            <a:custGeom>
              <a:avLst/>
              <a:gdLst/>
              <a:ahLst/>
              <a:cxnLst>
                <a:cxn ang="0">
                  <a:pos x="29" y="581"/>
                </a:cxn>
                <a:cxn ang="0">
                  <a:pos x="45" y="592"/>
                </a:cxn>
                <a:cxn ang="0">
                  <a:pos x="64" y="557"/>
                </a:cxn>
                <a:cxn ang="0">
                  <a:pos x="106" y="544"/>
                </a:cxn>
                <a:cxn ang="0">
                  <a:pos x="128" y="538"/>
                </a:cxn>
                <a:cxn ang="0">
                  <a:pos x="134" y="509"/>
                </a:cxn>
                <a:cxn ang="0">
                  <a:pos x="157" y="494"/>
                </a:cxn>
                <a:cxn ang="0">
                  <a:pos x="169" y="522"/>
                </a:cxn>
                <a:cxn ang="0">
                  <a:pos x="184" y="518"/>
                </a:cxn>
                <a:cxn ang="0">
                  <a:pos x="194" y="491"/>
                </a:cxn>
                <a:cxn ang="0">
                  <a:pos x="221" y="472"/>
                </a:cxn>
                <a:cxn ang="0">
                  <a:pos x="224" y="444"/>
                </a:cxn>
                <a:cxn ang="0">
                  <a:pos x="222" y="413"/>
                </a:cxn>
                <a:cxn ang="0">
                  <a:pos x="231" y="389"/>
                </a:cxn>
                <a:cxn ang="0">
                  <a:pos x="237" y="352"/>
                </a:cxn>
                <a:cxn ang="0">
                  <a:pos x="246" y="319"/>
                </a:cxn>
                <a:cxn ang="0">
                  <a:pos x="257" y="289"/>
                </a:cxn>
                <a:cxn ang="0">
                  <a:pos x="255" y="268"/>
                </a:cxn>
                <a:cxn ang="0">
                  <a:pos x="242" y="265"/>
                </a:cxn>
                <a:cxn ang="0">
                  <a:pos x="228" y="243"/>
                </a:cxn>
                <a:cxn ang="0">
                  <a:pos x="215" y="218"/>
                </a:cxn>
                <a:cxn ang="0">
                  <a:pos x="222" y="199"/>
                </a:cxn>
                <a:cxn ang="0">
                  <a:pos x="229" y="170"/>
                </a:cxn>
                <a:cxn ang="0">
                  <a:pos x="213" y="167"/>
                </a:cxn>
                <a:cxn ang="0">
                  <a:pos x="201" y="146"/>
                </a:cxn>
                <a:cxn ang="0">
                  <a:pos x="211" y="131"/>
                </a:cxn>
                <a:cxn ang="0">
                  <a:pos x="203" y="103"/>
                </a:cxn>
                <a:cxn ang="0">
                  <a:pos x="192" y="74"/>
                </a:cxn>
                <a:cxn ang="0">
                  <a:pos x="149" y="62"/>
                </a:cxn>
                <a:cxn ang="0">
                  <a:pos x="157" y="42"/>
                </a:cxn>
                <a:cxn ang="0">
                  <a:pos x="166" y="31"/>
                </a:cxn>
                <a:cxn ang="0">
                  <a:pos x="159" y="7"/>
                </a:cxn>
                <a:cxn ang="0">
                  <a:pos x="147" y="14"/>
                </a:cxn>
                <a:cxn ang="0">
                  <a:pos x="126" y="30"/>
                </a:cxn>
                <a:cxn ang="0">
                  <a:pos x="107" y="40"/>
                </a:cxn>
                <a:cxn ang="0">
                  <a:pos x="89" y="45"/>
                </a:cxn>
                <a:cxn ang="0">
                  <a:pos x="86" y="76"/>
                </a:cxn>
                <a:cxn ang="0">
                  <a:pos x="82" y="90"/>
                </a:cxn>
                <a:cxn ang="0">
                  <a:pos x="70" y="123"/>
                </a:cxn>
                <a:cxn ang="0">
                  <a:pos x="83" y="144"/>
                </a:cxn>
                <a:cxn ang="0">
                  <a:pos x="98" y="163"/>
                </a:cxn>
                <a:cxn ang="0">
                  <a:pos x="79" y="204"/>
                </a:cxn>
                <a:cxn ang="0">
                  <a:pos x="65" y="220"/>
                </a:cxn>
                <a:cxn ang="0">
                  <a:pos x="64" y="239"/>
                </a:cxn>
                <a:cxn ang="0">
                  <a:pos x="38" y="248"/>
                </a:cxn>
                <a:cxn ang="0">
                  <a:pos x="15" y="263"/>
                </a:cxn>
                <a:cxn ang="0">
                  <a:pos x="18" y="289"/>
                </a:cxn>
                <a:cxn ang="0">
                  <a:pos x="0" y="315"/>
                </a:cxn>
                <a:cxn ang="0">
                  <a:pos x="6" y="346"/>
                </a:cxn>
                <a:cxn ang="0">
                  <a:pos x="45" y="368"/>
                </a:cxn>
                <a:cxn ang="0">
                  <a:pos x="40" y="392"/>
                </a:cxn>
                <a:cxn ang="0">
                  <a:pos x="22" y="405"/>
                </a:cxn>
                <a:cxn ang="0">
                  <a:pos x="33" y="433"/>
                </a:cxn>
                <a:cxn ang="0">
                  <a:pos x="36" y="468"/>
                </a:cxn>
                <a:cxn ang="0">
                  <a:pos x="16" y="493"/>
                </a:cxn>
                <a:cxn ang="0">
                  <a:pos x="5" y="508"/>
                </a:cxn>
                <a:cxn ang="0">
                  <a:pos x="13" y="523"/>
                </a:cxn>
                <a:cxn ang="0">
                  <a:pos x="9" y="554"/>
                </a:cxn>
                <a:cxn ang="0">
                  <a:pos x="8" y="572"/>
                </a:cxn>
              </a:cxnLst>
              <a:rect l="0" t="0" r="r" b="b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8" name="Freeform 31"/>
            <p:cNvSpPr>
              <a:spLocks noEditPoints="1"/>
            </p:cNvSpPr>
            <p:nvPr/>
          </p:nvSpPr>
          <p:spPr bwMode="auto">
            <a:xfrm rot="21439583">
              <a:off x="4403944" y="4657553"/>
              <a:ext cx="832093" cy="926369"/>
            </a:xfrm>
            <a:custGeom>
              <a:avLst/>
              <a:gdLst/>
              <a:ahLst/>
              <a:cxnLst>
                <a:cxn ang="0">
                  <a:pos x="69" y="21"/>
                </a:cxn>
                <a:cxn ang="0">
                  <a:pos x="79" y="17"/>
                </a:cxn>
                <a:cxn ang="0">
                  <a:pos x="92" y="22"/>
                </a:cxn>
                <a:cxn ang="0">
                  <a:pos x="109" y="13"/>
                </a:cxn>
                <a:cxn ang="0">
                  <a:pos x="137" y="12"/>
                </a:cxn>
                <a:cxn ang="0">
                  <a:pos x="144" y="26"/>
                </a:cxn>
                <a:cxn ang="0">
                  <a:pos x="148" y="33"/>
                </a:cxn>
                <a:cxn ang="0">
                  <a:pos x="144" y="39"/>
                </a:cxn>
                <a:cxn ang="0">
                  <a:pos x="140" y="56"/>
                </a:cxn>
                <a:cxn ang="0">
                  <a:pos x="142" y="65"/>
                </a:cxn>
                <a:cxn ang="0">
                  <a:pos x="143" y="79"/>
                </a:cxn>
                <a:cxn ang="0">
                  <a:pos x="138" y="91"/>
                </a:cxn>
                <a:cxn ang="0">
                  <a:pos x="131" y="94"/>
                </a:cxn>
                <a:cxn ang="0">
                  <a:pos x="116" y="99"/>
                </a:cxn>
                <a:cxn ang="0">
                  <a:pos x="107" y="114"/>
                </a:cxn>
                <a:cxn ang="0">
                  <a:pos x="105" y="124"/>
                </a:cxn>
                <a:cxn ang="0">
                  <a:pos x="99" y="132"/>
                </a:cxn>
                <a:cxn ang="0">
                  <a:pos x="89" y="126"/>
                </a:cxn>
                <a:cxn ang="0">
                  <a:pos x="80" y="133"/>
                </a:cxn>
                <a:cxn ang="0">
                  <a:pos x="70" y="149"/>
                </a:cxn>
                <a:cxn ang="0">
                  <a:pos x="56" y="155"/>
                </a:cxn>
                <a:cxn ang="0">
                  <a:pos x="51" y="170"/>
                </a:cxn>
                <a:cxn ang="0">
                  <a:pos x="58" y="187"/>
                </a:cxn>
                <a:cxn ang="0">
                  <a:pos x="40" y="188"/>
                </a:cxn>
                <a:cxn ang="0">
                  <a:pos x="26" y="195"/>
                </a:cxn>
                <a:cxn ang="0">
                  <a:pos x="19" y="171"/>
                </a:cxn>
                <a:cxn ang="0">
                  <a:pos x="11" y="151"/>
                </a:cxn>
                <a:cxn ang="0">
                  <a:pos x="1" y="126"/>
                </a:cxn>
                <a:cxn ang="0">
                  <a:pos x="6" y="106"/>
                </a:cxn>
                <a:cxn ang="0">
                  <a:pos x="13" y="90"/>
                </a:cxn>
                <a:cxn ang="0">
                  <a:pos x="24" y="74"/>
                </a:cxn>
                <a:cxn ang="0">
                  <a:pos x="30" y="61"/>
                </a:cxn>
                <a:cxn ang="0">
                  <a:pos x="49" y="58"/>
                </a:cxn>
                <a:cxn ang="0">
                  <a:pos x="56" y="33"/>
                </a:cxn>
                <a:cxn ang="0">
                  <a:pos x="56" y="18"/>
                </a:cxn>
                <a:cxn ang="0">
                  <a:pos x="18" y="170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3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1" name="Freeform 30"/>
            <p:cNvSpPr>
              <a:spLocks/>
            </p:cNvSpPr>
            <p:nvPr/>
          </p:nvSpPr>
          <p:spPr bwMode="auto">
            <a:xfrm rot="21439583">
              <a:off x="5140641" y="3925140"/>
              <a:ext cx="888099" cy="1265243"/>
            </a:xfrm>
            <a:custGeom>
              <a:avLst/>
              <a:gdLst/>
              <a:ahLst/>
              <a:cxnLst>
                <a:cxn ang="0">
                  <a:pos x="151" y="77"/>
                </a:cxn>
                <a:cxn ang="0">
                  <a:pos x="130" y="81"/>
                </a:cxn>
                <a:cxn ang="0">
                  <a:pos x="115" y="86"/>
                </a:cxn>
                <a:cxn ang="0">
                  <a:pos x="99" y="93"/>
                </a:cxn>
                <a:cxn ang="0">
                  <a:pos x="94" y="107"/>
                </a:cxn>
                <a:cxn ang="0">
                  <a:pos x="101" y="125"/>
                </a:cxn>
                <a:cxn ang="0">
                  <a:pos x="114" y="135"/>
                </a:cxn>
                <a:cxn ang="0">
                  <a:pos x="110" y="154"/>
                </a:cxn>
                <a:cxn ang="0">
                  <a:pos x="103" y="175"/>
                </a:cxn>
                <a:cxn ang="0">
                  <a:pos x="102" y="206"/>
                </a:cxn>
                <a:cxn ang="0">
                  <a:pos x="108" y="231"/>
                </a:cxn>
                <a:cxn ang="0">
                  <a:pos x="108" y="243"/>
                </a:cxn>
                <a:cxn ang="0">
                  <a:pos x="107" y="266"/>
                </a:cxn>
                <a:cxn ang="0">
                  <a:pos x="94" y="257"/>
                </a:cxn>
                <a:cxn ang="0">
                  <a:pos x="82" y="239"/>
                </a:cxn>
                <a:cxn ang="0">
                  <a:pos x="68" y="239"/>
                </a:cxn>
                <a:cxn ang="0">
                  <a:pos x="58" y="244"/>
                </a:cxn>
                <a:cxn ang="0">
                  <a:pos x="45" y="237"/>
                </a:cxn>
                <a:cxn ang="0">
                  <a:pos x="36" y="244"/>
                </a:cxn>
                <a:cxn ang="0">
                  <a:pos x="19" y="246"/>
                </a:cxn>
                <a:cxn ang="0">
                  <a:pos x="4" y="244"/>
                </a:cxn>
                <a:cxn ang="0">
                  <a:pos x="1" y="229"/>
                </a:cxn>
                <a:cxn ang="0">
                  <a:pos x="8" y="220"/>
                </a:cxn>
                <a:cxn ang="0">
                  <a:pos x="1" y="209"/>
                </a:cxn>
                <a:cxn ang="0">
                  <a:pos x="7" y="199"/>
                </a:cxn>
                <a:cxn ang="0">
                  <a:pos x="11" y="185"/>
                </a:cxn>
                <a:cxn ang="0">
                  <a:pos x="7" y="179"/>
                </a:cxn>
                <a:cxn ang="0">
                  <a:pos x="5" y="166"/>
                </a:cxn>
                <a:cxn ang="0">
                  <a:pos x="5" y="159"/>
                </a:cxn>
                <a:cxn ang="0">
                  <a:pos x="13" y="142"/>
                </a:cxn>
                <a:cxn ang="0">
                  <a:pos x="17" y="117"/>
                </a:cxn>
                <a:cxn ang="0">
                  <a:pos x="26" y="87"/>
                </a:cxn>
                <a:cxn ang="0">
                  <a:pos x="28" y="76"/>
                </a:cxn>
                <a:cxn ang="0">
                  <a:pos x="23" y="71"/>
                </a:cxn>
                <a:cxn ang="0">
                  <a:pos x="47" y="53"/>
                </a:cxn>
                <a:cxn ang="0">
                  <a:pos x="61" y="46"/>
                </a:cxn>
                <a:cxn ang="0">
                  <a:pos x="76" y="14"/>
                </a:cxn>
                <a:cxn ang="0">
                  <a:pos x="103" y="11"/>
                </a:cxn>
                <a:cxn ang="0">
                  <a:pos x="112" y="46"/>
                </a:cxn>
                <a:cxn ang="0">
                  <a:pos x="130" y="51"/>
                </a:cxn>
                <a:cxn ang="0">
                  <a:pos x="156" y="63"/>
                </a:cxn>
              </a:cxnLst>
              <a:rect l="0" t="0" r="r" b="b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2" name="Freeform 28"/>
            <p:cNvSpPr>
              <a:spLocks noEditPoints="1"/>
            </p:cNvSpPr>
            <p:nvPr/>
          </p:nvSpPr>
          <p:spPr bwMode="auto">
            <a:xfrm rot="21439583">
              <a:off x="4551519" y="5058292"/>
              <a:ext cx="1228136" cy="732240"/>
            </a:xfrm>
            <a:custGeom>
              <a:avLst/>
              <a:gdLst/>
              <a:ahLst/>
              <a:cxnLst>
                <a:cxn ang="0">
                  <a:pos x="16" y="101"/>
                </a:cxn>
                <a:cxn ang="0">
                  <a:pos x="34" y="100"/>
                </a:cxn>
                <a:cxn ang="0">
                  <a:pos x="27" y="83"/>
                </a:cxn>
                <a:cxn ang="0">
                  <a:pos x="32" y="68"/>
                </a:cxn>
                <a:cxn ang="0">
                  <a:pos x="46" y="62"/>
                </a:cxn>
                <a:cxn ang="0">
                  <a:pos x="56" y="46"/>
                </a:cxn>
                <a:cxn ang="0">
                  <a:pos x="65" y="39"/>
                </a:cxn>
                <a:cxn ang="0">
                  <a:pos x="75" y="45"/>
                </a:cxn>
                <a:cxn ang="0">
                  <a:pos x="81" y="37"/>
                </a:cxn>
                <a:cxn ang="0">
                  <a:pos x="83" y="27"/>
                </a:cxn>
                <a:cxn ang="0">
                  <a:pos x="92" y="12"/>
                </a:cxn>
                <a:cxn ang="0">
                  <a:pos x="107" y="7"/>
                </a:cxn>
                <a:cxn ang="0">
                  <a:pos x="117" y="9"/>
                </a:cxn>
                <a:cxn ang="0">
                  <a:pos x="132" y="11"/>
                </a:cxn>
                <a:cxn ang="0">
                  <a:pos x="149" y="9"/>
                </a:cxn>
                <a:cxn ang="0">
                  <a:pos x="158" y="2"/>
                </a:cxn>
                <a:cxn ang="0">
                  <a:pos x="171" y="9"/>
                </a:cxn>
                <a:cxn ang="0">
                  <a:pos x="181" y="4"/>
                </a:cxn>
                <a:cxn ang="0">
                  <a:pos x="195" y="4"/>
                </a:cxn>
                <a:cxn ang="0">
                  <a:pos x="207" y="22"/>
                </a:cxn>
                <a:cxn ang="0">
                  <a:pos x="220" y="31"/>
                </a:cxn>
                <a:cxn ang="0">
                  <a:pos x="211" y="37"/>
                </a:cxn>
                <a:cxn ang="0">
                  <a:pos x="208" y="59"/>
                </a:cxn>
                <a:cxn ang="0">
                  <a:pos x="199" y="77"/>
                </a:cxn>
                <a:cxn ang="0">
                  <a:pos x="192" y="89"/>
                </a:cxn>
                <a:cxn ang="0">
                  <a:pos x="180" y="98"/>
                </a:cxn>
                <a:cxn ang="0">
                  <a:pos x="163" y="110"/>
                </a:cxn>
                <a:cxn ang="0">
                  <a:pos x="157" y="133"/>
                </a:cxn>
                <a:cxn ang="0">
                  <a:pos x="148" y="137"/>
                </a:cxn>
                <a:cxn ang="0">
                  <a:pos x="140" y="143"/>
                </a:cxn>
                <a:cxn ang="0">
                  <a:pos x="130" y="136"/>
                </a:cxn>
                <a:cxn ang="0">
                  <a:pos x="114" y="149"/>
                </a:cxn>
                <a:cxn ang="0">
                  <a:pos x="101" y="154"/>
                </a:cxn>
                <a:cxn ang="0">
                  <a:pos x="85" y="149"/>
                </a:cxn>
                <a:cxn ang="0">
                  <a:pos x="81" y="139"/>
                </a:cxn>
                <a:cxn ang="0">
                  <a:pos x="72" y="142"/>
                </a:cxn>
                <a:cxn ang="0">
                  <a:pos x="74" y="129"/>
                </a:cxn>
                <a:cxn ang="0">
                  <a:pos x="65" y="122"/>
                </a:cxn>
                <a:cxn ang="0">
                  <a:pos x="66" y="132"/>
                </a:cxn>
                <a:cxn ang="0">
                  <a:pos x="60" y="142"/>
                </a:cxn>
                <a:cxn ang="0">
                  <a:pos x="46" y="135"/>
                </a:cxn>
                <a:cxn ang="0">
                  <a:pos x="33" y="142"/>
                </a:cxn>
                <a:cxn ang="0">
                  <a:pos x="18" y="132"/>
                </a:cxn>
                <a:cxn ang="0">
                  <a:pos x="1" y="117"/>
                </a:cxn>
                <a:cxn ang="0">
                  <a:pos x="114" y="4"/>
                </a:cxn>
                <a:cxn ang="0">
                  <a:pos x="114" y="4"/>
                </a:cxn>
                <a:cxn ang="0">
                  <a:pos x="114" y="5"/>
                </a:cxn>
              </a:cxnLst>
              <a:rect l="0" t="0" r="r" b="b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3" name="Freeform 17"/>
            <p:cNvSpPr>
              <a:spLocks/>
            </p:cNvSpPr>
            <p:nvPr/>
          </p:nvSpPr>
          <p:spPr bwMode="auto">
            <a:xfrm rot="21439583">
              <a:off x="4205241" y="6107695"/>
              <a:ext cx="292032" cy="146448"/>
            </a:xfrm>
            <a:custGeom>
              <a:avLst/>
              <a:gdLst/>
              <a:ahLst/>
              <a:cxnLst>
                <a:cxn ang="0">
                  <a:pos x="20" y="31"/>
                </a:cxn>
                <a:cxn ang="0">
                  <a:pos x="27" y="28"/>
                </a:cxn>
                <a:cxn ang="0">
                  <a:pos x="34" y="21"/>
                </a:cxn>
                <a:cxn ang="0">
                  <a:pos x="51" y="16"/>
                </a:cxn>
                <a:cxn ang="0">
                  <a:pos x="36" y="0"/>
                </a:cxn>
                <a:cxn ang="0">
                  <a:pos x="30" y="10"/>
                </a:cxn>
                <a:cxn ang="0">
                  <a:pos x="23" y="12"/>
                </a:cxn>
                <a:cxn ang="0">
                  <a:pos x="14" y="15"/>
                </a:cxn>
                <a:cxn ang="0">
                  <a:pos x="5" y="19"/>
                </a:cxn>
                <a:cxn ang="0">
                  <a:pos x="3" y="25"/>
                </a:cxn>
                <a:cxn ang="0">
                  <a:pos x="20" y="25"/>
                </a:cxn>
                <a:cxn ang="0">
                  <a:pos x="20" y="31"/>
                </a:cxn>
              </a:cxnLst>
              <a:rect l="0" t="0" r="r" b="b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4" name="Freeform 22"/>
            <p:cNvSpPr>
              <a:spLocks/>
            </p:cNvSpPr>
            <p:nvPr/>
          </p:nvSpPr>
          <p:spPr bwMode="auto">
            <a:xfrm rot="21439583">
              <a:off x="4012980" y="3893632"/>
              <a:ext cx="682076" cy="88379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95" y="46"/>
                </a:cxn>
                <a:cxn ang="0">
                  <a:pos x="93" y="68"/>
                </a:cxn>
                <a:cxn ang="0">
                  <a:pos x="96" y="88"/>
                </a:cxn>
                <a:cxn ang="0">
                  <a:pos x="107" y="108"/>
                </a:cxn>
                <a:cxn ang="0">
                  <a:pos x="111" y="130"/>
                </a:cxn>
                <a:cxn ang="0">
                  <a:pos x="112" y="146"/>
                </a:cxn>
                <a:cxn ang="0">
                  <a:pos x="115" y="162"/>
                </a:cxn>
                <a:cxn ang="0">
                  <a:pos x="120" y="183"/>
                </a:cxn>
                <a:cxn ang="0">
                  <a:pos x="104" y="178"/>
                </a:cxn>
                <a:cxn ang="0">
                  <a:pos x="109" y="165"/>
                </a:cxn>
                <a:cxn ang="0">
                  <a:pos x="97" y="155"/>
                </a:cxn>
                <a:cxn ang="0">
                  <a:pos x="88" y="145"/>
                </a:cxn>
                <a:cxn ang="0">
                  <a:pos x="77" y="153"/>
                </a:cxn>
                <a:cxn ang="0">
                  <a:pos x="49" y="139"/>
                </a:cxn>
                <a:cxn ang="0">
                  <a:pos x="37" y="133"/>
                </a:cxn>
                <a:cxn ang="0">
                  <a:pos x="27" y="148"/>
                </a:cxn>
                <a:cxn ang="0">
                  <a:pos x="7" y="147"/>
                </a:cxn>
                <a:cxn ang="0">
                  <a:pos x="10" y="115"/>
                </a:cxn>
                <a:cxn ang="0">
                  <a:pos x="2" y="101"/>
                </a:cxn>
                <a:cxn ang="0">
                  <a:pos x="3" y="82"/>
                </a:cxn>
                <a:cxn ang="0">
                  <a:pos x="9" y="70"/>
                </a:cxn>
                <a:cxn ang="0">
                  <a:pos x="9" y="54"/>
                </a:cxn>
                <a:cxn ang="0">
                  <a:pos x="11" y="44"/>
                </a:cxn>
                <a:cxn ang="0">
                  <a:pos x="1" y="31"/>
                </a:cxn>
                <a:cxn ang="0">
                  <a:pos x="6" y="17"/>
                </a:cxn>
                <a:cxn ang="0">
                  <a:pos x="16" y="26"/>
                </a:cxn>
                <a:cxn ang="0">
                  <a:pos x="27" y="40"/>
                </a:cxn>
                <a:cxn ang="0">
                  <a:pos x="39" y="28"/>
                </a:cxn>
                <a:cxn ang="0">
                  <a:pos x="53" y="16"/>
                </a:cxn>
                <a:cxn ang="0">
                  <a:pos x="64" y="3"/>
                </a:cxn>
                <a:cxn ang="0">
                  <a:pos x="78" y="13"/>
                </a:cxn>
              </a:cxnLst>
              <a:rect l="0" t="0" r="r" b="b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5" name="Freeform 10"/>
            <p:cNvSpPr>
              <a:spLocks noEditPoints="1"/>
            </p:cNvSpPr>
            <p:nvPr/>
          </p:nvSpPr>
          <p:spPr bwMode="auto">
            <a:xfrm rot="21439583">
              <a:off x="3442545" y="3294429"/>
              <a:ext cx="1168131" cy="1103469"/>
            </a:xfrm>
            <a:custGeom>
              <a:avLst/>
              <a:gdLst/>
              <a:ahLst/>
              <a:cxnLst>
                <a:cxn ang="0">
                  <a:pos x="194" y="133"/>
                </a:cxn>
                <a:cxn ang="0">
                  <a:pos x="187" y="148"/>
                </a:cxn>
                <a:cxn ang="0">
                  <a:pos x="175" y="142"/>
                </a:cxn>
                <a:cxn ang="0">
                  <a:pos x="161" y="132"/>
                </a:cxn>
                <a:cxn ang="0">
                  <a:pos x="150" y="145"/>
                </a:cxn>
                <a:cxn ang="0">
                  <a:pos x="136" y="157"/>
                </a:cxn>
                <a:cxn ang="0">
                  <a:pos x="124" y="169"/>
                </a:cxn>
                <a:cxn ang="0">
                  <a:pos x="113" y="155"/>
                </a:cxn>
                <a:cxn ang="0">
                  <a:pos x="103" y="146"/>
                </a:cxn>
                <a:cxn ang="0">
                  <a:pos x="98" y="160"/>
                </a:cxn>
                <a:cxn ang="0">
                  <a:pos x="108" y="173"/>
                </a:cxn>
                <a:cxn ang="0">
                  <a:pos x="106" y="183"/>
                </a:cxn>
                <a:cxn ang="0">
                  <a:pos x="106" y="199"/>
                </a:cxn>
                <a:cxn ang="0">
                  <a:pos x="100" y="211"/>
                </a:cxn>
                <a:cxn ang="0">
                  <a:pos x="80" y="227"/>
                </a:cxn>
                <a:cxn ang="0">
                  <a:pos x="57" y="214"/>
                </a:cxn>
                <a:cxn ang="0">
                  <a:pos x="38" y="216"/>
                </a:cxn>
                <a:cxn ang="0">
                  <a:pos x="14" y="212"/>
                </a:cxn>
                <a:cxn ang="0">
                  <a:pos x="2" y="210"/>
                </a:cxn>
                <a:cxn ang="0">
                  <a:pos x="14" y="192"/>
                </a:cxn>
                <a:cxn ang="0">
                  <a:pos x="11" y="176"/>
                </a:cxn>
                <a:cxn ang="0">
                  <a:pos x="15" y="163"/>
                </a:cxn>
                <a:cxn ang="0">
                  <a:pos x="25" y="160"/>
                </a:cxn>
                <a:cxn ang="0">
                  <a:pos x="20" y="148"/>
                </a:cxn>
                <a:cxn ang="0">
                  <a:pos x="27" y="122"/>
                </a:cxn>
                <a:cxn ang="0">
                  <a:pos x="35" y="101"/>
                </a:cxn>
                <a:cxn ang="0">
                  <a:pos x="53" y="93"/>
                </a:cxn>
                <a:cxn ang="0">
                  <a:pos x="67" y="75"/>
                </a:cxn>
                <a:cxn ang="0">
                  <a:pos x="83" y="71"/>
                </a:cxn>
                <a:cxn ang="0">
                  <a:pos x="95" y="58"/>
                </a:cxn>
                <a:cxn ang="0">
                  <a:pos x="106" y="49"/>
                </a:cxn>
                <a:cxn ang="0">
                  <a:pos x="97" y="30"/>
                </a:cxn>
                <a:cxn ang="0">
                  <a:pos x="103" y="12"/>
                </a:cxn>
                <a:cxn ang="0">
                  <a:pos x="122" y="2"/>
                </a:cxn>
                <a:cxn ang="0">
                  <a:pos x="130" y="6"/>
                </a:cxn>
                <a:cxn ang="0">
                  <a:pos x="139" y="22"/>
                </a:cxn>
                <a:cxn ang="0">
                  <a:pos x="148" y="31"/>
                </a:cxn>
                <a:cxn ang="0">
                  <a:pos x="165" y="40"/>
                </a:cxn>
                <a:cxn ang="0">
                  <a:pos x="170" y="51"/>
                </a:cxn>
                <a:cxn ang="0">
                  <a:pos x="188" y="52"/>
                </a:cxn>
                <a:cxn ang="0">
                  <a:pos x="196" y="65"/>
                </a:cxn>
                <a:cxn ang="0">
                  <a:pos x="198" y="73"/>
                </a:cxn>
                <a:cxn ang="0">
                  <a:pos x="208" y="85"/>
                </a:cxn>
                <a:cxn ang="0">
                  <a:pos x="202" y="110"/>
                </a:cxn>
                <a:cxn ang="0">
                  <a:pos x="201" y="122"/>
                </a:cxn>
                <a:cxn ang="0">
                  <a:pos x="207" y="129"/>
                </a:cxn>
                <a:cxn ang="0">
                  <a:pos x="197" y="65"/>
                </a:cxn>
                <a:cxn ang="0">
                  <a:pos x="197" y="65"/>
                </a:cxn>
                <a:cxn ang="0">
                  <a:pos x="197" y="65"/>
                </a:cxn>
              </a:cxnLst>
              <a:rect l="0" t="0" r="r" b="b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96" name="Freeform 23"/>
            <p:cNvSpPr>
              <a:spLocks noEditPoints="1"/>
            </p:cNvSpPr>
            <p:nvPr/>
          </p:nvSpPr>
          <p:spPr bwMode="auto">
            <a:xfrm rot="21439583">
              <a:off x="3245095" y="4307373"/>
              <a:ext cx="1026113" cy="822492"/>
            </a:xfrm>
            <a:custGeom>
              <a:avLst/>
              <a:gdLst/>
              <a:ahLst/>
              <a:cxnLst>
                <a:cxn ang="0">
                  <a:pos x="151" y="33"/>
                </a:cxn>
                <a:cxn ang="0">
                  <a:pos x="157" y="70"/>
                </a:cxn>
                <a:cxn ang="0">
                  <a:pos x="182" y="86"/>
                </a:cxn>
                <a:cxn ang="0">
                  <a:pos x="182" y="120"/>
                </a:cxn>
                <a:cxn ang="0">
                  <a:pos x="152" y="142"/>
                </a:cxn>
                <a:cxn ang="0">
                  <a:pos x="144" y="144"/>
                </a:cxn>
                <a:cxn ang="0">
                  <a:pos x="132" y="171"/>
                </a:cxn>
                <a:cxn ang="0">
                  <a:pos x="111" y="150"/>
                </a:cxn>
                <a:cxn ang="0">
                  <a:pos x="82" y="160"/>
                </a:cxn>
                <a:cxn ang="0">
                  <a:pos x="61" y="164"/>
                </a:cxn>
                <a:cxn ang="0">
                  <a:pos x="4" y="157"/>
                </a:cxn>
                <a:cxn ang="0">
                  <a:pos x="16" y="132"/>
                </a:cxn>
                <a:cxn ang="0">
                  <a:pos x="19" y="102"/>
                </a:cxn>
                <a:cxn ang="0">
                  <a:pos x="47" y="93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9" y="55"/>
                </a:cxn>
                <a:cxn ang="0">
                  <a:pos x="34" y="46"/>
                </a:cxn>
                <a:cxn ang="0">
                  <a:pos x="22" y="17"/>
                </a:cxn>
                <a:cxn ang="0">
                  <a:pos x="46" y="2"/>
                </a:cxn>
                <a:cxn ang="0">
                  <a:pos x="58" y="1"/>
                </a:cxn>
                <a:cxn ang="0">
                  <a:pos x="91" y="0"/>
                </a:cxn>
                <a:cxn ang="0">
                  <a:pos x="124" y="16"/>
                </a:cxn>
                <a:cxn ang="0">
                  <a:pos x="1" y="112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</a:cxnLst>
              <a:rect l="0" t="0" r="r" b="b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lnTo>
                    <a:pt x="46" y="2"/>
                  </a:ln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98" name="Параллелограмм 97"/>
          <p:cNvSpPr/>
          <p:nvPr/>
        </p:nvSpPr>
        <p:spPr>
          <a:xfrm>
            <a:off x="5219700" y="66527"/>
            <a:ext cx="3924300" cy="288925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4" name="Параллелограмм 103"/>
          <p:cNvSpPr/>
          <p:nvPr/>
        </p:nvSpPr>
        <p:spPr>
          <a:xfrm>
            <a:off x="1368425" y="66527"/>
            <a:ext cx="3924300" cy="288925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cxnSp>
        <p:nvCxnSpPr>
          <p:cNvPr id="112" name="Прямая соединительная линия 111"/>
          <p:cNvCxnSpPr/>
          <p:nvPr/>
        </p:nvCxnSpPr>
        <p:spPr>
          <a:xfrm>
            <a:off x="250825" y="404664"/>
            <a:ext cx="8785225" cy="0"/>
          </a:xfrm>
          <a:prstGeom prst="line">
            <a:avLst/>
          </a:prstGeom>
          <a:ln w="158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25"/>
          <p:cNvSpPr txBox="1">
            <a:spLocks noChangeArrowheads="1"/>
          </p:cNvSpPr>
          <p:nvPr/>
        </p:nvSpPr>
        <p:spPr bwMode="auto">
          <a:xfrm>
            <a:off x="-255902" y="89201"/>
            <a:ext cx="8788342" cy="31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572" tIns="34286" rIns="68572" bIns="34286">
            <a:spAutoFit/>
          </a:bodyPr>
          <a:lstStyle/>
          <a:p>
            <a:pPr lvl="1"/>
            <a:r>
              <a:rPr lang="ru-RU" sz="1600" b="1" dirty="0" smtClean="0"/>
              <a:t>АКТУАЛЬНЫЕ ВОПРОСЫ, ВОЗНИКАЮЩИЕ  В РАМКАХ РЕАЛИЗАЦИИ КОМПЛЕКСНОГО ПЛАНА</a:t>
            </a:r>
            <a:endParaRPr lang="ru-RU" sz="1600" b="1" dirty="0"/>
          </a:p>
        </p:txBody>
      </p:sp>
      <p:sp>
        <p:nvSpPr>
          <p:cNvPr id="42" name="Содержимое 6"/>
          <p:cNvSpPr txBox="1">
            <a:spLocks/>
          </p:cNvSpPr>
          <p:nvPr/>
        </p:nvSpPr>
        <p:spPr bwMode="auto">
          <a:xfrm>
            <a:off x="683568" y="761889"/>
            <a:ext cx="7776864" cy="5763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defTabSz="684213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indent="0" algn="ctr" defTabSz="684213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indent="0" algn="ctr" defTabSz="684213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indent="0" algn="ctr" defTabSz="684213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indent="0" algn="ctr" defTabSz="684213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Wingdings" pitchFamily="2" charset="2"/>
              <a:buChar char="v"/>
            </a:pP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отсутствует официально утвержденная методика расчета доли доступа СОНКО к бюджетным средствам, выделяемым на предоставление социальных услуг населению;</a:t>
            </a:r>
          </a:p>
          <a:p>
            <a:pPr algn="l"/>
            <a:endParaRPr lang="ru-RU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marL="285750" indent="-285750" algn="just">
              <a:buFont typeface="Wingdings" pitchFamily="2" charset="2"/>
              <a:buChar char="v"/>
            </a:pP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н</a:t>
            </a: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е </a:t>
            </a: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все общественно полезные услуги могут быть переданы СОНКО в виду необходимости лицензии на их исполнение </a:t>
            </a:r>
            <a:r>
              <a:rPr lang="ru-RU" sz="1600" i="1" dirty="0" smtClean="0"/>
              <a:t>(например, </a:t>
            </a:r>
            <a:r>
              <a:rPr lang="ru-RU" sz="1600" i="1" dirty="0"/>
              <a:t>на право ведения образовательной </a:t>
            </a:r>
            <a:r>
              <a:rPr lang="ru-RU" sz="1600" i="1" dirty="0" smtClean="0"/>
              <a:t>деятельности)</a:t>
            </a:r>
            <a:r>
              <a:rPr lang="ru-RU" sz="1600" dirty="0" smtClean="0">
                <a:solidFill>
                  <a:schemeClr val="accent5">
                    <a:lumMod val="75000"/>
                  </a:schemeClr>
                </a:solidFill>
              </a:rPr>
              <a:t>;</a:t>
            </a:r>
            <a:endParaRPr lang="ru-RU" sz="1600" dirty="0">
              <a:solidFill>
                <a:schemeClr val="accent5">
                  <a:lumMod val="75000"/>
                </a:schemeClr>
              </a:solidFill>
            </a:endParaRPr>
          </a:p>
          <a:p>
            <a:pPr algn="l"/>
            <a:endParaRPr lang="ru-RU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marL="285750" indent="-285750" algn="just">
              <a:buFont typeface="Wingdings" pitchFamily="2" charset="2"/>
              <a:buChar char="v"/>
            </a:pP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недостаточный уровень развития СОНКО для участия в системе оказания социальных услуг, особенно в малых городах и сельских территориях </a:t>
            </a:r>
            <a:r>
              <a:rPr lang="ru-RU" sz="1600" i="1" dirty="0" smtClean="0"/>
              <a:t>(неготовность СОНКО к официальной регистрации, стабильной регулярной работе, вхождению в реестр исполнителей общественно-полезных услуг,  недостаток квалифицированных специалистов, в том числе в связи с нестабильностью финансирования и отсутствием регионального ресурсного центра)</a:t>
            </a:r>
            <a:r>
              <a:rPr lang="ru-RU" dirty="0" smtClean="0"/>
              <a:t>;</a:t>
            </a:r>
          </a:p>
          <a:p>
            <a:pPr algn="l"/>
            <a:endParaRPr lang="ru-RU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marL="285750" indent="-285750" algn="just">
              <a:buFont typeface="Wingdings" pitchFamily="2" charset="2"/>
              <a:buChar char="v"/>
            </a:pP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не урегулирован вопрос оценки и контроля качества предоставления социальных услуг, которые могут быть переданы на исполнение СОНКО </a:t>
            </a:r>
            <a:r>
              <a:rPr lang="ru-RU" sz="1600" i="1" dirty="0" smtClean="0"/>
              <a:t>(органам власти значительно легче контролировать свои подведомственные учреждения, чем СОНКО)</a:t>
            </a:r>
            <a:r>
              <a:rPr lang="ru-RU" sz="1600" dirty="0" smtClean="0">
                <a:solidFill>
                  <a:schemeClr val="accent5">
                    <a:lumMod val="75000"/>
                  </a:schemeClr>
                </a:solidFill>
              </a:rPr>
              <a:t>.</a:t>
            </a:r>
          </a:p>
          <a:p>
            <a:pPr marL="285750" indent="-285750" algn="l">
              <a:buFont typeface="Wingdings" pitchFamily="2" charset="2"/>
              <a:buChar char="v"/>
            </a:pPr>
            <a:endParaRPr lang="ru-RU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6" name="Rectangle 1"/>
          <p:cNvSpPr>
            <a:spLocks noChangeArrowheads="1"/>
          </p:cNvSpPr>
          <p:nvPr/>
        </p:nvSpPr>
        <p:spPr bwMode="auto">
          <a:xfrm>
            <a:off x="8502403" y="6478854"/>
            <a:ext cx="60610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i="1" kern="0" dirty="0">
                <a:solidFill>
                  <a:srgbClr val="2A2A2A"/>
                </a:solidFill>
                <a:latin typeface="Arial"/>
                <a:cs typeface="Times New Roman" pitchFamily="18" charset="0"/>
              </a:rPr>
              <a:t>6</a:t>
            </a:r>
            <a:endParaRPr kumimoji="0" lang="ru-RU" sz="1100" b="0" i="1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857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99"/>
          <p:cNvGrpSpPr/>
          <p:nvPr/>
        </p:nvGrpSpPr>
        <p:grpSpPr>
          <a:xfrm rot="21095698">
            <a:off x="900859" y="-1237965"/>
            <a:ext cx="7918345" cy="8662864"/>
            <a:chOff x="2045390" y="1136389"/>
            <a:chExt cx="6214834" cy="5579942"/>
          </a:xfrm>
          <a:solidFill>
            <a:schemeClr val="bg1">
              <a:lumMod val="65000"/>
              <a:alpha val="14000"/>
            </a:schemeClr>
          </a:solidFill>
          <a:effectLst/>
        </p:grpSpPr>
        <p:sp>
          <p:nvSpPr>
            <p:cNvPr id="82" name="Freeform 5"/>
            <p:cNvSpPr>
              <a:spLocks/>
            </p:cNvSpPr>
            <p:nvPr/>
          </p:nvSpPr>
          <p:spPr bwMode="auto">
            <a:xfrm rot="21439583">
              <a:off x="6752056" y="2477586"/>
              <a:ext cx="1508168" cy="1735240"/>
            </a:xfrm>
            <a:custGeom>
              <a:avLst/>
              <a:gdLst/>
              <a:ahLst/>
              <a:cxnLst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11" y="85"/>
                </a:cxn>
                <a:cxn ang="0">
                  <a:pos x="30" y="67"/>
                </a:cxn>
                <a:cxn ang="0">
                  <a:pos x="52" y="33"/>
                </a:cxn>
                <a:cxn ang="0">
                  <a:pos x="71" y="6"/>
                </a:cxn>
                <a:cxn ang="0">
                  <a:pos x="106" y="7"/>
                </a:cxn>
                <a:cxn ang="0">
                  <a:pos x="140" y="24"/>
                </a:cxn>
                <a:cxn ang="0">
                  <a:pos x="152" y="47"/>
                </a:cxn>
                <a:cxn ang="0">
                  <a:pos x="175" y="75"/>
                </a:cxn>
                <a:cxn ang="0">
                  <a:pos x="196" y="76"/>
                </a:cxn>
                <a:cxn ang="0">
                  <a:pos x="215" y="69"/>
                </a:cxn>
                <a:cxn ang="0">
                  <a:pos x="238" y="90"/>
                </a:cxn>
                <a:cxn ang="0">
                  <a:pos x="246" y="122"/>
                </a:cxn>
                <a:cxn ang="0">
                  <a:pos x="265" y="145"/>
                </a:cxn>
                <a:cxn ang="0">
                  <a:pos x="258" y="174"/>
                </a:cxn>
                <a:cxn ang="0">
                  <a:pos x="228" y="168"/>
                </a:cxn>
                <a:cxn ang="0">
                  <a:pos x="199" y="185"/>
                </a:cxn>
                <a:cxn ang="0">
                  <a:pos x="196" y="204"/>
                </a:cxn>
                <a:cxn ang="0">
                  <a:pos x="191" y="233"/>
                </a:cxn>
                <a:cxn ang="0">
                  <a:pos x="203" y="257"/>
                </a:cxn>
                <a:cxn ang="0">
                  <a:pos x="213" y="265"/>
                </a:cxn>
                <a:cxn ang="0">
                  <a:pos x="218" y="282"/>
                </a:cxn>
                <a:cxn ang="0">
                  <a:pos x="220" y="302"/>
                </a:cxn>
                <a:cxn ang="0">
                  <a:pos x="187" y="319"/>
                </a:cxn>
                <a:cxn ang="0">
                  <a:pos x="139" y="314"/>
                </a:cxn>
                <a:cxn ang="0">
                  <a:pos x="151" y="292"/>
                </a:cxn>
                <a:cxn ang="0">
                  <a:pos x="113" y="293"/>
                </a:cxn>
                <a:cxn ang="0">
                  <a:pos x="95" y="312"/>
                </a:cxn>
                <a:cxn ang="0">
                  <a:pos x="84" y="328"/>
                </a:cxn>
                <a:cxn ang="0">
                  <a:pos x="59" y="346"/>
                </a:cxn>
                <a:cxn ang="0">
                  <a:pos x="28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27" y="350"/>
                </a:cxn>
                <a:cxn ang="0">
                  <a:pos x="31" y="327"/>
                </a:cxn>
                <a:cxn ang="0">
                  <a:pos x="24" y="310"/>
                </a:cxn>
                <a:cxn ang="0">
                  <a:pos x="15" y="288"/>
                </a:cxn>
                <a:cxn ang="0">
                  <a:pos x="9" y="276"/>
                </a:cxn>
                <a:cxn ang="0">
                  <a:pos x="10" y="257"/>
                </a:cxn>
                <a:cxn ang="0">
                  <a:pos x="14" y="226"/>
                </a:cxn>
                <a:cxn ang="0">
                  <a:pos x="25" y="209"/>
                </a:cxn>
                <a:cxn ang="0">
                  <a:pos x="18" y="184"/>
                </a:cxn>
                <a:cxn ang="0">
                  <a:pos x="23" y="160"/>
                </a:cxn>
                <a:cxn ang="0">
                  <a:pos x="24" y="129"/>
                </a:cxn>
                <a:cxn ang="0">
                  <a:pos x="18" y="104"/>
                </a:cxn>
              </a:cxnLst>
              <a:rect l="0" t="0" r="r" b="b"/>
              <a:pathLst>
                <a:path w="270" h="365"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1" y="85"/>
                    <a:pt x="11" y="85"/>
                    <a:pt x="11" y="85"/>
                  </a:cubicBez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ubicBezTo>
                    <a:pt x="14" y="83"/>
                    <a:pt x="20" y="86"/>
                    <a:pt x="23" y="84"/>
                  </a:cubicBezTo>
                  <a:cubicBezTo>
                    <a:pt x="26" y="82"/>
                    <a:pt x="26" y="78"/>
                    <a:pt x="27" y="76"/>
                  </a:cubicBezTo>
                  <a:cubicBezTo>
                    <a:pt x="28" y="73"/>
                    <a:pt x="28" y="70"/>
                    <a:pt x="30" y="67"/>
                  </a:cubicBezTo>
                  <a:cubicBezTo>
                    <a:pt x="32" y="65"/>
                    <a:pt x="37" y="62"/>
                    <a:pt x="38" y="58"/>
                  </a:cubicBezTo>
                  <a:cubicBezTo>
                    <a:pt x="40" y="54"/>
                    <a:pt x="37" y="47"/>
                    <a:pt x="39" y="43"/>
                  </a:cubicBezTo>
                  <a:cubicBezTo>
                    <a:pt x="40" y="39"/>
                    <a:pt x="43" y="38"/>
                    <a:pt x="45" y="37"/>
                  </a:cubicBezTo>
                  <a:cubicBezTo>
                    <a:pt x="47" y="35"/>
                    <a:pt x="49" y="34"/>
                    <a:pt x="52" y="33"/>
                  </a:cubicBezTo>
                  <a:cubicBezTo>
                    <a:pt x="54" y="32"/>
                    <a:pt x="56" y="33"/>
                    <a:pt x="57" y="30"/>
                  </a:cubicBezTo>
                  <a:cubicBezTo>
                    <a:pt x="59" y="27"/>
                    <a:pt x="58" y="21"/>
                    <a:pt x="59" y="17"/>
                  </a:cubicBezTo>
                  <a:cubicBezTo>
                    <a:pt x="60" y="14"/>
                    <a:pt x="60" y="11"/>
                    <a:pt x="62" y="9"/>
                  </a:cubicBezTo>
                  <a:cubicBezTo>
                    <a:pt x="64" y="7"/>
                    <a:pt x="68" y="7"/>
                    <a:pt x="71" y="6"/>
                  </a:cubicBezTo>
                  <a:cubicBezTo>
                    <a:pt x="75" y="4"/>
                    <a:pt x="80" y="3"/>
                    <a:pt x="83" y="2"/>
                  </a:cubicBezTo>
                  <a:cubicBezTo>
                    <a:pt x="86" y="1"/>
                    <a:pt x="87" y="0"/>
                    <a:pt x="90" y="0"/>
                  </a:cubicBezTo>
                  <a:cubicBezTo>
                    <a:pt x="92" y="1"/>
                    <a:pt x="94" y="4"/>
                    <a:pt x="97" y="5"/>
                  </a:cubicBezTo>
                  <a:cubicBezTo>
                    <a:pt x="100" y="6"/>
                    <a:pt x="103" y="6"/>
                    <a:pt x="106" y="7"/>
                  </a:cubicBezTo>
                  <a:cubicBezTo>
                    <a:pt x="109" y="8"/>
                    <a:pt x="111" y="9"/>
                    <a:pt x="114" y="10"/>
                  </a:cubicBezTo>
                  <a:cubicBezTo>
                    <a:pt x="117" y="10"/>
                    <a:pt x="121" y="8"/>
                    <a:pt x="124" y="10"/>
                  </a:cubicBezTo>
                  <a:cubicBezTo>
                    <a:pt x="127" y="13"/>
                    <a:pt x="128" y="20"/>
                    <a:pt x="131" y="22"/>
                  </a:cubicBezTo>
                  <a:cubicBezTo>
                    <a:pt x="134" y="25"/>
                    <a:pt x="138" y="22"/>
                    <a:pt x="140" y="24"/>
                  </a:cubicBezTo>
                  <a:cubicBezTo>
                    <a:pt x="143" y="26"/>
                    <a:pt x="142" y="31"/>
                    <a:pt x="145" y="33"/>
                  </a:cubicBezTo>
                  <a:cubicBezTo>
                    <a:pt x="148" y="35"/>
                    <a:pt x="154" y="32"/>
                    <a:pt x="156" y="34"/>
                  </a:cubicBezTo>
                  <a:cubicBezTo>
                    <a:pt x="158" y="36"/>
                    <a:pt x="153" y="37"/>
                    <a:pt x="152" y="39"/>
                  </a:cubicBezTo>
                  <a:cubicBezTo>
                    <a:pt x="151" y="42"/>
                    <a:pt x="151" y="44"/>
                    <a:pt x="152" y="47"/>
                  </a:cubicBezTo>
                  <a:cubicBezTo>
                    <a:pt x="154" y="49"/>
                    <a:pt x="157" y="47"/>
                    <a:pt x="158" y="52"/>
                  </a:cubicBezTo>
                  <a:cubicBezTo>
                    <a:pt x="159" y="56"/>
                    <a:pt x="158" y="67"/>
                    <a:pt x="158" y="70"/>
                  </a:cubicBezTo>
                  <a:cubicBezTo>
                    <a:pt x="159" y="74"/>
                    <a:pt x="159" y="73"/>
                    <a:pt x="162" y="74"/>
                  </a:cubicBezTo>
                  <a:cubicBezTo>
                    <a:pt x="165" y="75"/>
                    <a:pt x="171" y="76"/>
                    <a:pt x="175" y="75"/>
                  </a:cubicBezTo>
                  <a:cubicBezTo>
                    <a:pt x="178" y="74"/>
                    <a:pt x="180" y="70"/>
                    <a:pt x="182" y="69"/>
                  </a:cubicBezTo>
                  <a:cubicBezTo>
                    <a:pt x="184" y="68"/>
                    <a:pt x="186" y="67"/>
                    <a:pt x="188" y="69"/>
                  </a:cubicBezTo>
                  <a:cubicBezTo>
                    <a:pt x="190" y="70"/>
                    <a:pt x="190" y="74"/>
                    <a:pt x="191" y="76"/>
                  </a:cubicBezTo>
                  <a:cubicBezTo>
                    <a:pt x="193" y="77"/>
                    <a:pt x="194" y="78"/>
                    <a:pt x="196" y="76"/>
                  </a:cubicBezTo>
                  <a:cubicBezTo>
                    <a:pt x="197" y="74"/>
                    <a:pt x="196" y="67"/>
                    <a:pt x="197" y="64"/>
                  </a:cubicBezTo>
                  <a:cubicBezTo>
                    <a:pt x="199" y="61"/>
                    <a:pt x="201" y="59"/>
                    <a:pt x="204" y="58"/>
                  </a:cubicBezTo>
                  <a:cubicBezTo>
                    <a:pt x="206" y="56"/>
                    <a:pt x="209" y="55"/>
                    <a:pt x="211" y="58"/>
                  </a:cubicBezTo>
                  <a:cubicBezTo>
                    <a:pt x="214" y="60"/>
                    <a:pt x="211" y="67"/>
                    <a:pt x="215" y="69"/>
                  </a:cubicBezTo>
                  <a:cubicBezTo>
                    <a:pt x="219" y="72"/>
                    <a:pt x="227" y="68"/>
                    <a:pt x="230" y="70"/>
                  </a:cubicBezTo>
                  <a:cubicBezTo>
                    <a:pt x="234" y="71"/>
                    <a:pt x="231" y="76"/>
                    <a:pt x="232" y="78"/>
                  </a:cubicBezTo>
                  <a:cubicBezTo>
                    <a:pt x="233" y="81"/>
                    <a:pt x="236" y="82"/>
                    <a:pt x="237" y="84"/>
                  </a:cubicBezTo>
                  <a:cubicBezTo>
                    <a:pt x="238" y="86"/>
                    <a:pt x="239" y="88"/>
                    <a:pt x="238" y="90"/>
                  </a:cubicBezTo>
                  <a:cubicBezTo>
                    <a:pt x="237" y="92"/>
                    <a:pt x="233" y="95"/>
                    <a:pt x="233" y="97"/>
                  </a:cubicBezTo>
                  <a:cubicBezTo>
                    <a:pt x="233" y="100"/>
                    <a:pt x="237" y="101"/>
                    <a:pt x="239" y="103"/>
                  </a:cubicBezTo>
                  <a:cubicBezTo>
                    <a:pt x="241" y="105"/>
                    <a:pt x="243" y="106"/>
                    <a:pt x="245" y="109"/>
                  </a:cubicBezTo>
                  <a:cubicBezTo>
                    <a:pt x="246" y="112"/>
                    <a:pt x="245" y="118"/>
                    <a:pt x="246" y="122"/>
                  </a:cubicBezTo>
                  <a:cubicBezTo>
                    <a:pt x="246" y="125"/>
                    <a:pt x="249" y="127"/>
                    <a:pt x="249" y="131"/>
                  </a:cubicBezTo>
                  <a:cubicBezTo>
                    <a:pt x="250" y="134"/>
                    <a:pt x="249" y="141"/>
                    <a:pt x="250" y="144"/>
                  </a:cubicBezTo>
                  <a:cubicBezTo>
                    <a:pt x="251" y="147"/>
                    <a:pt x="253" y="147"/>
                    <a:pt x="256" y="147"/>
                  </a:cubicBezTo>
                  <a:cubicBezTo>
                    <a:pt x="258" y="147"/>
                    <a:pt x="263" y="142"/>
                    <a:pt x="265" y="145"/>
                  </a:cubicBezTo>
                  <a:cubicBezTo>
                    <a:pt x="268" y="149"/>
                    <a:pt x="265" y="158"/>
                    <a:pt x="266" y="162"/>
                  </a:cubicBezTo>
                  <a:cubicBezTo>
                    <a:pt x="266" y="166"/>
                    <a:pt x="270" y="166"/>
                    <a:pt x="269" y="168"/>
                  </a:cubicBezTo>
                  <a:cubicBezTo>
                    <a:pt x="269" y="171"/>
                    <a:pt x="265" y="171"/>
                    <a:pt x="263" y="172"/>
                  </a:cubicBezTo>
                  <a:cubicBezTo>
                    <a:pt x="262" y="173"/>
                    <a:pt x="260" y="173"/>
                    <a:pt x="258" y="174"/>
                  </a:cubicBezTo>
                  <a:cubicBezTo>
                    <a:pt x="257" y="175"/>
                    <a:pt x="256" y="178"/>
                    <a:pt x="254" y="179"/>
                  </a:cubicBezTo>
                  <a:cubicBezTo>
                    <a:pt x="252" y="179"/>
                    <a:pt x="250" y="179"/>
                    <a:pt x="247" y="179"/>
                  </a:cubicBezTo>
                  <a:cubicBezTo>
                    <a:pt x="244" y="178"/>
                    <a:pt x="241" y="175"/>
                    <a:pt x="237" y="173"/>
                  </a:cubicBezTo>
                  <a:cubicBezTo>
                    <a:pt x="234" y="172"/>
                    <a:pt x="234" y="169"/>
                    <a:pt x="228" y="168"/>
                  </a:cubicBezTo>
                  <a:cubicBezTo>
                    <a:pt x="222" y="167"/>
                    <a:pt x="208" y="166"/>
                    <a:pt x="202" y="168"/>
                  </a:cubicBezTo>
                  <a:cubicBezTo>
                    <a:pt x="196" y="169"/>
                    <a:pt x="194" y="174"/>
                    <a:pt x="193" y="176"/>
                  </a:cubicBezTo>
                  <a:cubicBezTo>
                    <a:pt x="191" y="179"/>
                    <a:pt x="191" y="180"/>
                    <a:pt x="193" y="182"/>
                  </a:cubicBezTo>
                  <a:cubicBezTo>
                    <a:pt x="194" y="183"/>
                    <a:pt x="198" y="183"/>
                    <a:pt x="199" y="185"/>
                  </a:cubicBezTo>
                  <a:cubicBezTo>
                    <a:pt x="199" y="187"/>
                    <a:pt x="196" y="188"/>
                    <a:pt x="196" y="190"/>
                  </a:cubicBezTo>
                  <a:cubicBezTo>
                    <a:pt x="195" y="191"/>
                    <a:pt x="197" y="193"/>
                    <a:pt x="196" y="195"/>
                  </a:cubicBezTo>
                  <a:cubicBezTo>
                    <a:pt x="195" y="196"/>
                    <a:pt x="191" y="195"/>
                    <a:pt x="191" y="197"/>
                  </a:cubicBezTo>
                  <a:cubicBezTo>
                    <a:pt x="191" y="200"/>
                    <a:pt x="195" y="201"/>
                    <a:pt x="196" y="204"/>
                  </a:cubicBezTo>
                  <a:cubicBezTo>
                    <a:pt x="197" y="208"/>
                    <a:pt x="199" y="213"/>
                    <a:pt x="196" y="217"/>
                  </a:cubicBezTo>
                  <a:cubicBezTo>
                    <a:pt x="193" y="221"/>
                    <a:pt x="185" y="219"/>
                    <a:pt x="182" y="221"/>
                  </a:cubicBezTo>
                  <a:cubicBezTo>
                    <a:pt x="180" y="223"/>
                    <a:pt x="181" y="224"/>
                    <a:pt x="182" y="226"/>
                  </a:cubicBezTo>
                  <a:cubicBezTo>
                    <a:pt x="184" y="229"/>
                    <a:pt x="189" y="230"/>
                    <a:pt x="191" y="233"/>
                  </a:cubicBezTo>
                  <a:cubicBezTo>
                    <a:pt x="192" y="235"/>
                    <a:pt x="190" y="238"/>
                    <a:pt x="191" y="241"/>
                  </a:cubicBezTo>
                  <a:cubicBezTo>
                    <a:pt x="192" y="243"/>
                    <a:pt x="194" y="243"/>
                    <a:pt x="196" y="245"/>
                  </a:cubicBezTo>
                  <a:cubicBezTo>
                    <a:pt x="197" y="247"/>
                    <a:pt x="196" y="250"/>
                    <a:pt x="197" y="252"/>
                  </a:cubicBezTo>
                  <a:cubicBezTo>
                    <a:pt x="199" y="255"/>
                    <a:pt x="202" y="254"/>
                    <a:pt x="203" y="257"/>
                  </a:cubicBezTo>
                  <a:cubicBezTo>
                    <a:pt x="204" y="259"/>
                    <a:pt x="202" y="263"/>
                    <a:pt x="202" y="266"/>
                  </a:cubicBezTo>
                  <a:cubicBezTo>
                    <a:pt x="203" y="268"/>
                    <a:pt x="205" y="268"/>
                    <a:pt x="207" y="269"/>
                  </a:cubicBezTo>
                  <a:cubicBezTo>
                    <a:pt x="208" y="270"/>
                    <a:pt x="211" y="273"/>
                    <a:pt x="213" y="272"/>
                  </a:cubicBezTo>
                  <a:cubicBezTo>
                    <a:pt x="214" y="271"/>
                    <a:pt x="210" y="267"/>
                    <a:pt x="213" y="265"/>
                  </a:cubicBezTo>
                  <a:cubicBezTo>
                    <a:pt x="216" y="264"/>
                    <a:pt x="222" y="264"/>
                    <a:pt x="225" y="266"/>
                  </a:cubicBezTo>
                  <a:cubicBezTo>
                    <a:pt x="227" y="268"/>
                    <a:pt x="226" y="272"/>
                    <a:pt x="224" y="274"/>
                  </a:cubicBezTo>
                  <a:cubicBezTo>
                    <a:pt x="223" y="276"/>
                    <a:pt x="219" y="274"/>
                    <a:pt x="218" y="276"/>
                  </a:cubicBezTo>
                  <a:cubicBezTo>
                    <a:pt x="216" y="277"/>
                    <a:pt x="216" y="280"/>
                    <a:pt x="218" y="282"/>
                  </a:cubicBezTo>
                  <a:cubicBezTo>
                    <a:pt x="219" y="284"/>
                    <a:pt x="223" y="284"/>
                    <a:pt x="225" y="286"/>
                  </a:cubicBezTo>
                  <a:cubicBezTo>
                    <a:pt x="226" y="288"/>
                    <a:pt x="225" y="290"/>
                    <a:pt x="224" y="292"/>
                  </a:cubicBezTo>
                  <a:cubicBezTo>
                    <a:pt x="223" y="293"/>
                    <a:pt x="221" y="292"/>
                    <a:pt x="220" y="294"/>
                  </a:cubicBezTo>
                  <a:cubicBezTo>
                    <a:pt x="219" y="296"/>
                    <a:pt x="221" y="300"/>
                    <a:pt x="220" y="302"/>
                  </a:cubicBezTo>
                  <a:cubicBezTo>
                    <a:pt x="219" y="305"/>
                    <a:pt x="217" y="306"/>
                    <a:pt x="214" y="306"/>
                  </a:cubicBezTo>
                  <a:cubicBezTo>
                    <a:pt x="211" y="307"/>
                    <a:pt x="207" y="306"/>
                    <a:pt x="204" y="307"/>
                  </a:cubicBezTo>
                  <a:cubicBezTo>
                    <a:pt x="201" y="308"/>
                    <a:pt x="200" y="309"/>
                    <a:pt x="197" y="311"/>
                  </a:cubicBezTo>
                  <a:cubicBezTo>
                    <a:pt x="194" y="313"/>
                    <a:pt x="191" y="317"/>
                    <a:pt x="187" y="319"/>
                  </a:cubicBezTo>
                  <a:cubicBezTo>
                    <a:pt x="183" y="320"/>
                    <a:pt x="179" y="321"/>
                    <a:pt x="174" y="321"/>
                  </a:cubicBezTo>
                  <a:cubicBezTo>
                    <a:pt x="170" y="322"/>
                    <a:pt x="165" y="321"/>
                    <a:pt x="161" y="320"/>
                  </a:cubicBezTo>
                  <a:cubicBezTo>
                    <a:pt x="157" y="319"/>
                    <a:pt x="155" y="316"/>
                    <a:pt x="151" y="315"/>
                  </a:cubicBezTo>
                  <a:cubicBezTo>
                    <a:pt x="147" y="314"/>
                    <a:pt x="142" y="314"/>
                    <a:pt x="139" y="314"/>
                  </a:cubicBezTo>
                  <a:cubicBezTo>
                    <a:pt x="136" y="313"/>
                    <a:pt x="135" y="312"/>
                    <a:pt x="134" y="311"/>
                  </a:cubicBezTo>
                  <a:cubicBezTo>
                    <a:pt x="132" y="310"/>
                    <a:pt x="132" y="308"/>
                    <a:pt x="134" y="306"/>
                  </a:cubicBezTo>
                  <a:cubicBezTo>
                    <a:pt x="135" y="304"/>
                    <a:pt x="139" y="301"/>
                    <a:pt x="142" y="299"/>
                  </a:cubicBezTo>
                  <a:cubicBezTo>
                    <a:pt x="145" y="297"/>
                    <a:pt x="151" y="295"/>
                    <a:pt x="151" y="292"/>
                  </a:cubicBezTo>
                  <a:cubicBezTo>
                    <a:pt x="151" y="288"/>
                    <a:pt x="146" y="286"/>
                    <a:pt x="143" y="285"/>
                  </a:cubicBezTo>
                  <a:cubicBezTo>
                    <a:pt x="140" y="283"/>
                    <a:pt x="137" y="282"/>
                    <a:pt x="134" y="284"/>
                  </a:cubicBezTo>
                  <a:cubicBezTo>
                    <a:pt x="131" y="285"/>
                    <a:pt x="133" y="292"/>
                    <a:pt x="128" y="294"/>
                  </a:cubicBezTo>
                  <a:cubicBezTo>
                    <a:pt x="124" y="295"/>
                    <a:pt x="116" y="291"/>
                    <a:pt x="113" y="293"/>
                  </a:cubicBezTo>
                  <a:cubicBezTo>
                    <a:pt x="109" y="295"/>
                    <a:pt x="115" y="301"/>
                    <a:pt x="111" y="303"/>
                  </a:cubicBezTo>
                  <a:cubicBezTo>
                    <a:pt x="108" y="305"/>
                    <a:pt x="100" y="301"/>
                    <a:pt x="97" y="302"/>
                  </a:cubicBezTo>
                  <a:cubicBezTo>
                    <a:pt x="93" y="303"/>
                    <a:pt x="92" y="305"/>
                    <a:pt x="92" y="307"/>
                  </a:cubicBezTo>
                  <a:cubicBezTo>
                    <a:pt x="91" y="309"/>
                    <a:pt x="93" y="311"/>
                    <a:pt x="95" y="312"/>
                  </a:cubicBezTo>
                  <a:cubicBezTo>
                    <a:pt x="96" y="313"/>
                    <a:pt x="100" y="312"/>
                    <a:pt x="100" y="314"/>
                  </a:cubicBezTo>
                  <a:cubicBezTo>
                    <a:pt x="101" y="316"/>
                    <a:pt x="100" y="320"/>
                    <a:pt x="98" y="322"/>
                  </a:cubicBezTo>
                  <a:cubicBezTo>
                    <a:pt x="95" y="324"/>
                    <a:pt x="91" y="324"/>
                    <a:pt x="88" y="325"/>
                  </a:cubicBezTo>
                  <a:cubicBezTo>
                    <a:pt x="86" y="326"/>
                    <a:pt x="85" y="325"/>
                    <a:pt x="84" y="328"/>
                  </a:cubicBezTo>
                  <a:cubicBezTo>
                    <a:pt x="84" y="331"/>
                    <a:pt x="86" y="336"/>
                    <a:pt x="85" y="340"/>
                  </a:cubicBezTo>
                  <a:cubicBezTo>
                    <a:pt x="84" y="343"/>
                    <a:pt x="82" y="345"/>
                    <a:pt x="79" y="346"/>
                  </a:cubicBezTo>
                  <a:cubicBezTo>
                    <a:pt x="76" y="347"/>
                    <a:pt x="72" y="346"/>
                    <a:pt x="68" y="346"/>
                  </a:cubicBezTo>
                  <a:cubicBezTo>
                    <a:pt x="65" y="346"/>
                    <a:pt x="61" y="343"/>
                    <a:pt x="59" y="346"/>
                  </a:cubicBezTo>
                  <a:cubicBezTo>
                    <a:pt x="56" y="348"/>
                    <a:pt x="57" y="353"/>
                    <a:pt x="56" y="356"/>
                  </a:cubicBezTo>
                  <a:cubicBezTo>
                    <a:pt x="55" y="358"/>
                    <a:pt x="54" y="359"/>
                    <a:pt x="52" y="361"/>
                  </a:cubicBezTo>
                  <a:cubicBezTo>
                    <a:pt x="49" y="362"/>
                    <a:pt x="49" y="365"/>
                    <a:pt x="44" y="363"/>
                  </a:cubicBezTo>
                  <a:cubicBezTo>
                    <a:pt x="40" y="361"/>
                    <a:pt x="32" y="352"/>
                    <a:pt x="28" y="350"/>
                  </a:cubicBezTo>
                  <a:lnTo>
                    <a:pt x="28" y="350"/>
                  </a:lnTo>
                  <a:lnTo>
                    <a:pt x="28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lnTo>
                    <a:pt x="27" y="350"/>
                  </a:lnTo>
                  <a:cubicBezTo>
                    <a:pt x="29" y="345"/>
                    <a:pt x="30" y="341"/>
                    <a:pt x="31" y="338"/>
                  </a:cubicBezTo>
                  <a:cubicBezTo>
                    <a:pt x="33" y="331"/>
                    <a:pt x="33" y="331"/>
                    <a:pt x="31" y="327"/>
                  </a:cubicBezTo>
                  <a:cubicBezTo>
                    <a:pt x="30" y="326"/>
                    <a:pt x="29" y="324"/>
                    <a:pt x="27" y="323"/>
                  </a:cubicBezTo>
                  <a:lnTo>
                    <a:pt x="22" y="319"/>
                  </a:lnTo>
                  <a:lnTo>
                    <a:pt x="23" y="313"/>
                  </a:lnTo>
                  <a:cubicBezTo>
                    <a:pt x="24" y="312"/>
                    <a:pt x="25" y="311"/>
                    <a:pt x="24" y="310"/>
                  </a:cubicBezTo>
                  <a:cubicBezTo>
                    <a:pt x="24" y="308"/>
                    <a:pt x="23" y="306"/>
                    <a:pt x="21" y="304"/>
                  </a:cubicBezTo>
                  <a:lnTo>
                    <a:pt x="19" y="301"/>
                  </a:lnTo>
                  <a:lnTo>
                    <a:pt x="18" y="298"/>
                  </a:lnTo>
                  <a:cubicBezTo>
                    <a:pt x="18" y="295"/>
                    <a:pt x="18" y="290"/>
                    <a:pt x="15" y="288"/>
                  </a:cubicBezTo>
                  <a:cubicBezTo>
                    <a:pt x="14" y="286"/>
                    <a:pt x="11" y="285"/>
                    <a:pt x="9" y="285"/>
                  </a:cubicBezTo>
                  <a:lnTo>
                    <a:pt x="0" y="282"/>
                  </a:lnTo>
                  <a:lnTo>
                    <a:pt x="4" y="279"/>
                  </a:lnTo>
                  <a:cubicBezTo>
                    <a:pt x="7" y="278"/>
                    <a:pt x="9" y="278"/>
                    <a:pt x="9" y="276"/>
                  </a:cubicBezTo>
                  <a:cubicBezTo>
                    <a:pt x="9" y="274"/>
                    <a:pt x="7" y="273"/>
                    <a:pt x="5" y="271"/>
                  </a:cubicBezTo>
                  <a:lnTo>
                    <a:pt x="0" y="265"/>
                  </a:lnTo>
                  <a:lnTo>
                    <a:pt x="5" y="261"/>
                  </a:lnTo>
                  <a:cubicBezTo>
                    <a:pt x="8" y="260"/>
                    <a:pt x="10" y="259"/>
                    <a:pt x="10" y="257"/>
                  </a:cubicBezTo>
                  <a:cubicBezTo>
                    <a:pt x="11" y="255"/>
                    <a:pt x="9" y="253"/>
                    <a:pt x="7" y="252"/>
                  </a:cubicBezTo>
                  <a:lnTo>
                    <a:pt x="3" y="246"/>
                  </a:lnTo>
                  <a:lnTo>
                    <a:pt x="7" y="227"/>
                  </a:lnTo>
                  <a:lnTo>
                    <a:pt x="14" y="226"/>
                  </a:lnTo>
                  <a:cubicBezTo>
                    <a:pt x="16" y="226"/>
                    <a:pt x="18" y="226"/>
                    <a:pt x="20" y="225"/>
                  </a:cubicBezTo>
                  <a:cubicBezTo>
                    <a:pt x="21" y="223"/>
                    <a:pt x="20" y="221"/>
                    <a:pt x="19" y="219"/>
                  </a:cubicBezTo>
                  <a:lnTo>
                    <a:pt x="18" y="212"/>
                  </a:lnTo>
                  <a:lnTo>
                    <a:pt x="25" y="209"/>
                  </a:lnTo>
                  <a:cubicBezTo>
                    <a:pt x="28" y="208"/>
                    <a:pt x="31" y="208"/>
                    <a:pt x="32" y="206"/>
                  </a:cubicBezTo>
                  <a:cubicBezTo>
                    <a:pt x="34" y="202"/>
                    <a:pt x="31" y="198"/>
                    <a:pt x="29" y="194"/>
                  </a:cubicBezTo>
                  <a:cubicBezTo>
                    <a:pt x="28" y="193"/>
                    <a:pt x="26" y="192"/>
                    <a:pt x="25" y="190"/>
                  </a:cubicBezTo>
                  <a:lnTo>
                    <a:pt x="18" y="184"/>
                  </a:lnTo>
                  <a:lnTo>
                    <a:pt x="21" y="174"/>
                  </a:lnTo>
                  <a:lnTo>
                    <a:pt x="23" y="172"/>
                  </a:lnTo>
                  <a:cubicBezTo>
                    <a:pt x="25" y="170"/>
                    <a:pt x="28" y="168"/>
                    <a:pt x="28" y="165"/>
                  </a:cubicBezTo>
                  <a:cubicBezTo>
                    <a:pt x="28" y="163"/>
                    <a:pt x="25" y="162"/>
                    <a:pt x="23" y="160"/>
                  </a:cubicBezTo>
                  <a:lnTo>
                    <a:pt x="20" y="157"/>
                  </a:lnTo>
                  <a:lnTo>
                    <a:pt x="18" y="144"/>
                  </a:lnTo>
                  <a:lnTo>
                    <a:pt x="20" y="137"/>
                  </a:lnTo>
                  <a:cubicBezTo>
                    <a:pt x="22" y="134"/>
                    <a:pt x="24" y="132"/>
                    <a:pt x="24" y="129"/>
                  </a:cubicBezTo>
                  <a:cubicBezTo>
                    <a:pt x="24" y="127"/>
                    <a:pt x="22" y="126"/>
                    <a:pt x="20" y="125"/>
                  </a:cubicBezTo>
                  <a:lnTo>
                    <a:pt x="17" y="123"/>
                  </a:lnTo>
                  <a:lnTo>
                    <a:pt x="17" y="106"/>
                  </a:lnTo>
                  <a:lnTo>
                    <a:pt x="18" y="104"/>
                  </a:lnTo>
                  <a:cubicBezTo>
                    <a:pt x="20" y="101"/>
                    <a:pt x="20" y="99"/>
                    <a:pt x="22" y="93"/>
                  </a:cubicBezTo>
                  <a:cubicBezTo>
                    <a:pt x="20" y="91"/>
                    <a:pt x="18" y="90"/>
                    <a:pt x="14" y="88"/>
                  </a:cubicBezTo>
                  <a:lnTo>
                    <a:pt x="11" y="8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3" name="Freeform 6"/>
            <p:cNvSpPr>
              <a:spLocks/>
            </p:cNvSpPr>
            <p:nvPr/>
          </p:nvSpPr>
          <p:spPr bwMode="auto">
            <a:xfrm rot="21439583">
              <a:off x="5936291" y="2923073"/>
              <a:ext cx="1012112" cy="1287381"/>
            </a:xfrm>
            <a:custGeom>
              <a:avLst/>
              <a:gdLst/>
              <a:ahLst/>
              <a:cxnLst>
                <a:cxn ang="0">
                  <a:pos x="8" y="81"/>
                </a:cxn>
                <a:cxn ang="0">
                  <a:pos x="18" y="70"/>
                </a:cxn>
                <a:cxn ang="0">
                  <a:pos x="25" y="59"/>
                </a:cxn>
                <a:cxn ang="0">
                  <a:pos x="36" y="51"/>
                </a:cxn>
                <a:cxn ang="0">
                  <a:pos x="52" y="47"/>
                </a:cxn>
                <a:cxn ang="0">
                  <a:pos x="77" y="41"/>
                </a:cxn>
                <a:cxn ang="0">
                  <a:pos x="88" y="29"/>
                </a:cxn>
                <a:cxn ang="0">
                  <a:pos x="98" y="27"/>
                </a:cxn>
                <a:cxn ang="0">
                  <a:pos x="105" y="40"/>
                </a:cxn>
                <a:cxn ang="0">
                  <a:pos x="108" y="51"/>
                </a:cxn>
                <a:cxn ang="0">
                  <a:pos x="106" y="64"/>
                </a:cxn>
                <a:cxn ang="0">
                  <a:pos x="121" y="54"/>
                </a:cxn>
                <a:cxn ang="0">
                  <a:pos x="137" y="51"/>
                </a:cxn>
                <a:cxn ang="0">
                  <a:pos x="149" y="43"/>
                </a:cxn>
                <a:cxn ang="0">
                  <a:pos x="147" y="28"/>
                </a:cxn>
                <a:cxn ang="0">
                  <a:pos x="152" y="15"/>
                </a:cxn>
                <a:cxn ang="0">
                  <a:pos x="159" y="9"/>
                </a:cxn>
                <a:cxn ang="0">
                  <a:pos x="171" y="8"/>
                </a:cxn>
                <a:cxn ang="0">
                  <a:pos x="166" y="38"/>
                </a:cxn>
                <a:cxn ang="0">
                  <a:pos x="167" y="59"/>
                </a:cxn>
                <a:cxn ang="0">
                  <a:pos x="177" y="80"/>
                </a:cxn>
                <a:cxn ang="0">
                  <a:pos x="167" y="99"/>
                </a:cxn>
                <a:cxn ang="0">
                  <a:pos x="181" y="121"/>
                </a:cxn>
                <a:cxn ang="0">
                  <a:pos x="169" y="140"/>
                </a:cxn>
                <a:cxn ang="0">
                  <a:pos x="152" y="161"/>
                </a:cxn>
                <a:cxn ang="0">
                  <a:pos x="149" y="180"/>
                </a:cxn>
                <a:cxn ang="0">
                  <a:pos x="149" y="197"/>
                </a:cxn>
                <a:cxn ang="0">
                  <a:pos x="168" y="216"/>
                </a:cxn>
                <a:cxn ang="0">
                  <a:pos x="171" y="234"/>
                </a:cxn>
                <a:cxn ang="0">
                  <a:pos x="180" y="253"/>
                </a:cxn>
                <a:cxn ang="0">
                  <a:pos x="171" y="265"/>
                </a:cxn>
                <a:cxn ang="0">
                  <a:pos x="156" y="268"/>
                </a:cxn>
                <a:cxn ang="0">
                  <a:pos x="141" y="261"/>
                </a:cxn>
                <a:cxn ang="0">
                  <a:pos x="135" y="244"/>
                </a:cxn>
                <a:cxn ang="0">
                  <a:pos x="127" y="255"/>
                </a:cxn>
                <a:cxn ang="0">
                  <a:pos x="117" y="254"/>
                </a:cxn>
                <a:cxn ang="0">
                  <a:pos x="104" y="251"/>
                </a:cxn>
                <a:cxn ang="0">
                  <a:pos x="92" y="252"/>
                </a:cxn>
                <a:cxn ang="0">
                  <a:pos x="74" y="239"/>
                </a:cxn>
                <a:cxn ang="0">
                  <a:pos x="62" y="265"/>
                </a:cxn>
                <a:cxn ang="0">
                  <a:pos x="29" y="265"/>
                </a:cxn>
                <a:cxn ang="0">
                  <a:pos x="49" y="240"/>
                </a:cxn>
                <a:cxn ang="0">
                  <a:pos x="41" y="213"/>
                </a:cxn>
                <a:cxn ang="0">
                  <a:pos x="41" y="194"/>
                </a:cxn>
                <a:cxn ang="0">
                  <a:pos x="32" y="176"/>
                </a:cxn>
                <a:cxn ang="0">
                  <a:pos x="24" y="155"/>
                </a:cxn>
                <a:cxn ang="0">
                  <a:pos x="34" y="141"/>
                </a:cxn>
                <a:cxn ang="0">
                  <a:pos x="47" y="129"/>
                </a:cxn>
                <a:cxn ang="0">
                  <a:pos x="70" y="116"/>
                </a:cxn>
                <a:cxn ang="0">
                  <a:pos x="68" y="82"/>
                </a:cxn>
                <a:cxn ang="0">
                  <a:pos x="38" y="84"/>
                </a:cxn>
                <a:cxn ang="0">
                  <a:pos x="18" y="100"/>
                </a:cxn>
                <a:cxn ang="0">
                  <a:pos x="4" y="89"/>
                </a:cxn>
              </a:cxnLst>
              <a:rect l="0" t="0" r="r" b="b"/>
              <a:pathLst>
                <a:path w="181" h="271">
                  <a:moveTo>
                    <a:pt x="0" y="82"/>
                  </a:moveTo>
                  <a:cubicBezTo>
                    <a:pt x="3" y="82"/>
                    <a:pt x="6" y="82"/>
                    <a:pt x="8" y="81"/>
                  </a:cubicBezTo>
                  <a:cubicBezTo>
                    <a:pt x="13" y="79"/>
                    <a:pt x="10" y="73"/>
                    <a:pt x="12" y="71"/>
                  </a:cubicBezTo>
                  <a:cubicBezTo>
                    <a:pt x="14" y="68"/>
                    <a:pt x="17" y="72"/>
                    <a:pt x="18" y="70"/>
                  </a:cubicBezTo>
                  <a:cubicBezTo>
                    <a:pt x="20" y="68"/>
                    <a:pt x="17" y="62"/>
                    <a:pt x="18" y="60"/>
                  </a:cubicBezTo>
                  <a:cubicBezTo>
                    <a:pt x="20" y="57"/>
                    <a:pt x="24" y="61"/>
                    <a:pt x="25" y="59"/>
                  </a:cubicBezTo>
                  <a:cubicBezTo>
                    <a:pt x="27" y="57"/>
                    <a:pt x="23" y="53"/>
                    <a:pt x="25" y="51"/>
                  </a:cubicBezTo>
                  <a:cubicBezTo>
                    <a:pt x="28" y="49"/>
                    <a:pt x="32" y="50"/>
                    <a:pt x="36" y="51"/>
                  </a:cubicBezTo>
                  <a:cubicBezTo>
                    <a:pt x="41" y="52"/>
                    <a:pt x="47" y="58"/>
                    <a:pt x="51" y="57"/>
                  </a:cubicBezTo>
                  <a:cubicBezTo>
                    <a:pt x="56" y="56"/>
                    <a:pt x="48" y="49"/>
                    <a:pt x="52" y="47"/>
                  </a:cubicBezTo>
                  <a:cubicBezTo>
                    <a:pt x="56" y="46"/>
                    <a:pt x="63" y="50"/>
                    <a:pt x="68" y="49"/>
                  </a:cubicBezTo>
                  <a:cubicBezTo>
                    <a:pt x="73" y="48"/>
                    <a:pt x="74" y="43"/>
                    <a:pt x="77" y="41"/>
                  </a:cubicBezTo>
                  <a:cubicBezTo>
                    <a:pt x="81" y="40"/>
                    <a:pt x="85" y="44"/>
                    <a:pt x="87" y="41"/>
                  </a:cubicBezTo>
                  <a:cubicBezTo>
                    <a:pt x="89" y="38"/>
                    <a:pt x="86" y="32"/>
                    <a:pt x="88" y="29"/>
                  </a:cubicBezTo>
                  <a:cubicBezTo>
                    <a:pt x="89" y="27"/>
                    <a:pt x="92" y="25"/>
                    <a:pt x="94" y="25"/>
                  </a:cubicBezTo>
                  <a:cubicBezTo>
                    <a:pt x="96" y="24"/>
                    <a:pt x="98" y="25"/>
                    <a:pt x="98" y="27"/>
                  </a:cubicBezTo>
                  <a:cubicBezTo>
                    <a:pt x="99" y="30"/>
                    <a:pt x="96" y="37"/>
                    <a:pt x="98" y="39"/>
                  </a:cubicBezTo>
                  <a:cubicBezTo>
                    <a:pt x="100" y="42"/>
                    <a:pt x="103" y="39"/>
                    <a:pt x="105" y="40"/>
                  </a:cubicBezTo>
                  <a:cubicBezTo>
                    <a:pt x="107" y="40"/>
                    <a:pt x="109" y="40"/>
                    <a:pt x="110" y="42"/>
                  </a:cubicBezTo>
                  <a:cubicBezTo>
                    <a:pt x="110" y="45"/>
                    <a:pt x="109" y="48"/>
                    <a:pt x="108" y="51"/>
                  </a:cubicBezTo>
                  <a:cubicBezTo>
                    <a:pt x="107" y="54"/>
                    <a:pt x="104" y="56"/>
                    <a:pt x="104" y="59"/>
                  </a:cubicBezTo>
                  <a:cubicBezTo>
                    <a:pt x="103" y="61"/>
                    <a:pt x="104" y="63"/>
                    <a:pt x="106" y="64"/>
                  </a:cubicBezTo>
                  <a:cubicBezTo>
                    <a:pt x="109" y="65"/>
                    <a:pt x="116" y="65"/>
                    <a:pt x="118" y="63"/>
                  </a:cubicBezTo>
                  <a:cubicBezTo>
                    <a:pt x="121" y="61"/>
                    <a:pt x="118" y="56"/>
                    <a:pt x="121" y="54"/>
                  </a:cubicBezTo>
                  <a:cubicBezTo>
                    <a:pt x="123" y="52"/>
                    <a:pt x="127" y="52"/>
                    <a:pt x="130" y="52"/>
                  </a:cubicBezTo>
                  <a:cubicBezTo>
                    <a:pt x="132" y="51"/>
                    <a:pt x="135" y="52"/>
                    <a:pt x="137" y="51"/>
                  </a:cubicBezTo>
                  <a:cubicBezTo>
                    <a:pt x="140" y="49"/>
                    <a:pt x="141" y="45"/>
                    <a:pt x="143" y="44"/>
                  </a:cubicBezTo>
                  <a:cubicBezTo>
                    <a:pt x="145" y="42"/>
                    <a:pt x="147" y="45"/>
                    <a:pt x="149" y="43"/>
                  </a:cubicBezTo>
                  <a:cubicBezTo>
                    <a:pt x="150" y="41"/>
                    <a:pt x="150" y="37"/>
                    <a:pt x="150" y="34"/>
                  </a:cubicBezTo>
                  <a:cubicBezTo>
                    <a:pt x="149" y="32"/>
                    <a:pt x="146" y="30"/>
                    <a:pt x="147" y="28"/>
                  </a:cubicBezTo>
                  <a:cubicBezTo>
                    <a:pt x="147" y="25"/>
                    <a:pt x="150" y="24"/>
                    <a:pt x="151" y="22"/>
                  </a:cubicBezTo>
                  <a:cubicBezTo>
                    <a:pt x="152" y="20"/>
                    <a:pt x="152" y="17"/>
                    <a:pt x="152" y="15"/>
                  </a:cubicBezTo>
                  <a:cubicBezTo>
                    <a:pt x="152" y="13"/>
                    <a:pt x="148" y="13"/>
                    <a:pt x="150" y="11"/>
                  </a:cubicBezTo>
                  <a:cubicBezTo>
                    <a:pt x="152" y="10"/>
                    <a:pt x="157" y="11"/>
                    <a:pt x="159" y="9"/>
                  </a:cubicBezTo>
                  <a:cubicBezTo>
                    <a:pt x="161" y="7"/>
                    <a:pt x="157" y="2"/>
                    <a:pt x="160" y="0"/>
                  </a:cubicBezTo>
                  <a:lnTo>
                    <a:pt x="171" y="8"/>
                  </a:lnTo>
                  <a:lnTo>
                    <a:pt x="166" y="21"/>
                  </a:lnTo>
                  <a:lnTo>
                    <a:pt x="166" y="38"/>
                  </a:lnTo>
                  <a:lnTo>
                    <a:pt x="173" y="44"/>
                  </a:lnTo>
                  <a:lnTo>
                    <a:pt x="167" y="59"/>
                  </a:lnTo>
                  <a:lnTo>
                    <a:pt x="169" y="72"/>
                  </a:lnTo>
                  <a:lnTo>
                    <a:pt x="177" y="80"/>
                  </a:lnTo>
                  <a:lnTo>
                    <a:pt x="170" y="89"/>
                  </a:lnTo>
                  <a:lnTo>
                    <a:pt x="167" y="99"/>
                  </a:lnTo>
                  <a:lnTo>
                    <a:pt x="178" y="109"/>
                  </a:lnTo>
                  <a:lnTo>
                    <a:pt x="181" y="121"/>
                  </a:lnTo>
                  <a:lnTo>
                    <a:pt x="167" y="127"/>
                  </a:lnTo>
                  <a:lnTo>
                    <a:pt x="169" y="140"/>
                  </a:lnTo>
                  <a:lnTo>
                    <a:pt x="156" y="142"/>
                  </a:lnTo>
                  <a:lnTo>
                    <a:pt x="152" y="161"/>
                  </a:lnTo>
                  <a:lnTo>
                    <a:pt x="159" y="172"/>
                  </a:lnTo>
                  <a:lnTo>
                    <a:pt x="149" y="180"/>
                  </a:lnTo>
                  <a:lnTo>
                    <a:pt x="158" y="191"/>
                  </a:lnTo>
                  <a:lnTo>
                    <a:pt x="149" y="197"/>
                  </a:lnTo>
                  <a:lnTo>
                    <a:pt x="164" y="203"/>
                  </a:lnTo>
                  <a:lnTo>
                    <a:pt x="168" y="216"/>
                  </a:lnTo>
                  <a:lnTo>
                    <a:pt x="173" y="225"/>
                  </a:lnTo>
                  <a:lnTo>
                    <a:pt x="171" y="234"/>
                  </a:lnTo>
                  <a:lnTo>
                    <a:pt x="180" y="242"/>
                  </a:lnTo>
                  <a:lnTo>
                    <a:pt x="180" y="253"/>
                  </a:lnTo>
                  <a:lnTo>
                    <a:pt x="176" y="264"/>
                  </a:lnTo>
                  <a:cubicBezTo>
                    <a:pt x="173" y="263"/>
                    <a:pt x="173" y="265"/>
                    <a:pt x="171" y="265"/>
                  </a:cubicBezTo>
                  <a:cubicBezTo>
                    <a:pt x="168" y="266"/>
                    <a:pt x="166" y="270"/>
                    <a:pt x="163" y="270"/>
                  </a:cubicBezTo>
                  <a:cubicBezTo>
                    <a:pt x="160" y="271"/>
                    <a:pt x="158" y="269"/>
                    <a:pt x="156" y="268"/>
                  </a:cubicBezTo>
                  <a:cubicBezTo>
                    <a:pt x="153" y="268"/>
                    <a:pt x="148" y="268"/>
                    <a:pt x="146" y="267"/>
                  </a:cubicBezTo>
                  <a:cubicBezTo>
                    <a:pt x="143" y="265"/>
                    <a:pt x="142" y="264"/>
                    <a:pt x="141" y="261"/>
                  </a:cubicBezTo>
                  <a:cubicBezTo>
                    <a:pt x="140" y="257"/>
                    <a:pt x="142" y="250"/>
                    <a:pt x="141" y="247"/>
                  </a:cubicBezTo>
                  <a:cubicBezTo>
                    <a:pt x="140" y="243"/>
                    <a:pt x="137" y="244"/>
                    <a:pt x="135" y="244"/>
                  </a:cubicBezTo>
                  <a:cubicBezTo>
                    <a:pt x="133" y="244"/>
                    <a:pt x="131" y="246"/>
                    <a:pt x="129" y="247"/>
                  </a:cubicBezTo>
                  <a:cubicBezTo>
                    <a:pt x="128" y="249"/>
                    <a:pt x="128" y="253"/>
                    <a:pt x="127" y="255"/>
                  </a:cubicBezTo>
                  <a:cubicBezTo>
                    <a:pt x="125" y="257"/>
                    <a:pt x="124" y="259"/>
                    <a:pt x="122" y="259"/>
                  </a:cubicBezTo>
                  <a:cubicBezTo>
                    <a:pt x="120" y="258"/>
                    <a:pt x="119" y="255"/>
                    <a:pt x="117" y="254"/>
                  </a:cubicBezTo>
                  <a:cubicBezTo>
                    <a:pt x="115" y="252"/>
                    <a:pt x="113" y="251"/>
                    <a:pt x="111" y="250"/>
                  </a:cubicBezTo>
                  <a:cubicBezTo>
                    <a:pt x="109" y="250"/>
                    <a:pt x="106" y="249"/>
                    <a:pt x="104" y="251"/>
                  </a:cubicBezTo>
                  <a:cubicBezTo>
                    <a:pt x="102" y="252"/>
                    <a:pt x="103" y="258"/>
                    <a:pt x="100" y="258"/>
                  </a:cubicBezTo>
                  <a:cubicBezTo>
                    <a:pt x="97" y="258"/>
                    <a:pt x="95" y="255"/>
                    <a:pt x="92" y="252"/>
                  </a:cubicBezTo>
                  <a:cubicBezTo>
                    <a:pt x="89" y="249"/>
                    <a:pt x="83" y="242"/>
                    <a:pt x="80" y="240"/>
                  </a:cubicBezTo>
                  <a:cubicBezTo>
                    <a:pt x="77" y="238"/>
                    <a:pt x="76" y="236"/>
                    <a:pt x="74" y="239"/>
                  </a:cubicBezTo>
                  <a:cubicBezTo>
                    <a:pt x="73" y="242"/>
                    <a:pt x="77" y="248"/>
                    <a:pt x="74" y="253"/>
                  </a:cubicBezTo>
                  <a:cubicBezTo>
                    <a:pt x="72" y="258"/>
                    <a:pt x="70" y="263"/>
                    <a:pt x="62" y="265"/>
                  </a:cubicBezTo>
                  <a:cubicBezTo>
                    <a:pt x="55" y="267"/>
                    <a:pt x="39" y="267"/>
                    <a:pt x="32" y="266"/>
                  </a:cubicBezTo>
                  <a:cubicBezTo>
                    <a:pt x="30" y="266"/>
                    <a:pt x="29" y="265"/>
                    <a:pt x="29" y="265"/>
                  </a:cubicBezTo>
                  <a:cubicBezTo>
                    <a:pt x="31" y="255"/>
                    <a:pt x="37" y="246"/>
                    <a:pt x="38" y="241"/>
                  </a:cubicBezTo>
                  <a:cubicBezTo>
                    <a:pt x="40" y="231"/>
                    <a:pt x="47" y="244"/>
                    <a:pt x="49" y="240"/>
                  </a:cubicBezTo>
                  <a:cubicBezTo>
                    <a:pt x="51" y="237"/>
                    <a:pt x="49" y="229"/>
                    <a:pt x="48" y="225"/>
                  </a:cubicBezTo>
                  <a:cubicBezTo>
                    <a:pt x="47" y="220"/>
                    <a:pt x="43" y="217"/>
                    <a:pt x="41" y="213"/>
                  </a:cubicBezTo>
                  <a:cubicBezTo>
                    <a:pt x="38" y="210"/>
                    <a:pt x="32" y="207"/>
                    <a:pt x="32" y="203"/>
                  </a:cubicBezTo>
                  <a:cubicBezTo>
                    <a:pt x="32" y="198"/>
                    <a:pt x="39" y="197"/>
                    <a:pt x="41" y="194"/>
                  </a:cubicBezTo>
                  <a:cubicBezTo>
                    <a:pt x="42" y="191"/>
                    <a:pt x="41" y="187"/>
                    <a:pt x="41" y="185"/>
                  </a:cubicBezTo>
                  <a:cubicBezTo>
                    <a:pt x="42" y="184"/>
                    <a:pt x="36" y="179"/>
                    <a:pt x="32" y="176"/>
                  </a:cubicBezTo>
                  <a:cubicBezTo>
                    <a:pt x="27" y="173"/>
                    <a:pt x="23" y="169"/>
                    <a:pt x="23" y="167"/>
                  </a:cubicBezTo>
                  <a:cubicBezTo>
                    <a:pt x="23" y="165"/>
                    <a:pt x="24" y="160"/>
                    <a:pt x="24" y="155"/>
                  </a:cubicBezTo>
                  <a:cubicBezTo>
                    <a:pt x="24" y="151"/>
                    <a:pt x="22" y="146"/>
                    <a:pt x="24" y="142"/>
                  </a:cubicBezTo>
                  <a:cubicBezTo>
                    <a:pt x="26" y="139"/>
                    <a:pt x="30" y="141"/>
                    <a:pt x="34" y="141"/>
                  </a:cubicBezTo>
                  <a:cubicBezTo>
                    <a:pt x="38" y="140"/>
                    <a:pt x="46" y="142"/>
                    <a:pt x="49" y="139"/>
                  </a:cubicBezTo>
                  <a:cubicBezTo>
                    <a:pt x="52" y="136"/>
                    <a:pt x="48" y="133"/>
                    <a:pt x="47" y="129"/>
                  </a:cubicBezTo>
                  <a:cubicBezTo>
                    <a:pt x="47" y="126"/>
                    <a:pt x="40" y="121"/>
                    <a:pt x="45" y="118"/>
                  </a:cubicBezTo>
                  <a:cubicBezTo>
                    <a:pt x="50" y="115"/>
                    <a:pt x="65" y="116"/>
                    <a:pt x="70" y="116"/>
                  </a:cubicBezTo>
                  <a:cubicBezTo>
                    <a:pt x="74" y="115"/>
                    <a:pt x="75" y="101"/>
                    <a:pt x="75" y="96"/>
                  </a:cubicBezTo>
                  <a:cubicBezTo>
                    <a:pt x="75" y="91"/>
                    <a:pt x="72" y="83"/>
                    <a:pt x="68" y="82"/>
                  </a:cubicBezTo>
                  <a:cubicBezTo>
                    <a:pt x="64" y="81"/>
                    <a:pt x="51" y="74"/>
                    <a:pt x="46" y="75"/>
                  </a:cubicBezTo>
                  <a:cubicBezTo>
                    <a:pt x="40" y="75"/>
                    <a:pt x="41" y="80"/>
                    <a:pt x="38" y="84"/>
                  </a:cubicBezTo>
                  <a:cubicBezTo>
                    <a:pt x="35" y="87"/>
                    <a:pt x="33" y="92"/>
                    <a:pt x="29" y="94"/>
                  </a:cubicBezTo>
                  <a:cubicBezTo>
                    <a:pt x="26" y="97"/>
                    <a:pt x="21" y="101"/>
                    <a:pt x="18" y="100"/>
                  </a:cubicBezTo>
                  <a:cubicBezTo>
                    <a:pt x="14" y="99"/>
                    <a:pt x="16" y="93"/>
                    <a:pt x="13" y="90"/>
                  </a:cubicBezTo>
                  <a:cubicBezTo>
                    <a:pt x="11" y="88"/>
                    <a:pt x="6" y="96"/>
                    <a:pt x="4" y="89"/>
                  </a:cubicBezTo>
                  <a:cubicBezTo>
                    <a:pt x="3" y="87"/>
                    <a:pt x="1" y="85"/>
                    <a:pt x="0" y="8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4" name="Freeform 8"/>
            <p:cNvSpPr>
              <a:spLocks/>
            </p:cNvSpPr>
            <p:nvPr/>
          </p:nvSpPr>
          <p:spPr bwMode="auto">
            <a:xfrm rot="21439583">
              <a:off x="2936531" y="3794175"/>
              <a:ext cx="630071" cy="1077926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30" y="31"/>
                </a:cxn>
                <a:cxn ang="0">
                  <a:pos x="35" y="28"/>
                </a:cxn>
                <a:cxn ang="0">
                  <a:pos x="46" y="27"/>
                </a:cxn>
                <a:cxn ang="0">
                  <a:pos x="52" y="20"/>
                </a:cxn>
                <a:cxn ang="0">
                  <a:pos x="59" y="12"/>
                </a:cxn>
                <a:cxn ang="0">
                  <a:pos x="61" y="2"/>
                </a:cxn>
                <a:cxn ang="0">
                  <a:pos x="78" y="4"/>
                </a:cxn>
                <a:cxn ang="0">
                  <a:pos x="79" y="18"/>
                </a:cxn>
                <a:cxn ang="0">
                  <a:pos x="84" y="24"/>
                </a:cxn>
                <a:cxn ang="0">
                  <a:pos x="91" y="28"/>
                </a:cxn>
                <a:cxn ang="0">
                  <a:pos x="93" y="51"/>
                </a:cxn>
                <a:cxn ang="0">
                  <a:pos x="108" y="64"/>
                </a:cxn>
                <a:cxn ang="0">
                  <a:pos x="107" y="78"/>
                </a:cxn>
                <a:cxn ang="0">
                  <a:pos x="105" y="88"/>
                </a:cxn>
                <a:cxn ang="0">
                  <a:pos x="110" y="94"/>
                </a:cxn>
                <a:cxn ang="0">
                  <a:pos x="111" y="104"/>
                </a:cxn>
                <a:cxn ang="0">
                  <a:pos x="98" y="112"/>
                </a:cxn>
                <a:cxn ang="0">
                  <a:pos x="98" y="115"/>
                </a:cxn>
                <a:cxn ang="0">
                  <a:pos x="98" y="115"/>
                </a:cxn>
                <a:cxn ang="0">
                  <a:pos x="88" y="120"/>
                </a:cxn>
                <a:cxn ang="0">
                  <a:pos x="83" y="129"/>
                </a:cxn>
                <a:cxn ang="0">
                  <a:pos x="74" y="130"/>
                </a:cxn>
                <a:cxn ang="0">
                  <a:pos x="71" y="139"/>
                </a:cxn>
                <a:cxn ang="0">
                  <a:pos x="81" y="150"/>
                </a:cxn>
                <a:cxn ang="0">
                  <a:pos x="86" y="159"/>
                </a:cxn>
                <a:cxn ang="0">
                  <a:pos x="97" y="159"/>
                </a:cxn>
                <a:cxn ang="0">
                  <a:pos x="101" y="165"/>
                </a:cxn>
                <a:cxn ang="0">
                  <a:pos x="99" y="206"/>
                </a:cxn>
                <a:cxn ang="0">
                  <a:pos x="92" y="210"/>
                </a:cxn>
                <a:cxn ang="0">
                  <a:pos x="78" y="209"/>
                </a:cxn>
                <a:cxn ang="0">
                  <a:pos x="71" y="215"/>
                </a:cxn>
                <a:cxn ang="0">
                  <a:pos x="71" y="223"/>
                </a:cxn>
                <a:cxn ang="0">
                  <a:pos x="61" y="221"/>
                </a:cxn>
                <a:cxn ang="0">
                  <a:pos x="55" y="226"/>
                </a:cxn>
                <a:cxn ang="0">
                  <a:pos x="44" y="215"/>
                </a:cxn>
                <a:cxn ang="0">
                  <a:pos x="37" y="215"/>
                </a:cxn>
                <a:cxn ang="0">
                  <a:pos x="27" y="207"/>
                </a:cxn>
                <a:cxn ang="0">
                  <a:pos x="18" y="200"/>
                </a:cxn>
                <a:cxn ang="0">
                  <a:pos x="7" y="186"/>
                </a:cxn>
                <a:cxn ang="0">
                  <a:pos x="10" y="179"/>
                </a:cxn>
                <a:cxn ang="0">
                  <a:pos x="4" y="173"/>
                </a:cxn>
                <a:cxn ang="0">
                  <a:pos x="6" y="163"/>
                </a:cxn>
                <a:cxn ang="0">
                  <a:pos x="1" y="153"/>
                </a:cxn>
                <a:cxn ang="0">
                  <a:pos x="4" y="146"/>
                </a:cxn>
                <a:cxn ang="0">
                  <a:pos x="6" y="136"/>
                </a:cxn>
                <a:cxn ang="0">
                  <a:pos x="7" y="123"/>
                </a:cxn>
                <a:cxn ang="0">
                  <a:pos x="5" y="110"/>
                </a:cxn>
                <a:cxn ang="0">
                  <a:pos x="10" y="104"/>
                </a:cxn>
                <a:cxn ang="0">
                  <a:pos x="8" y="91"/>
                </a:cxn>
                <a:cxn ang="0">
                  <a:pos x="19" y="89"/>
                </a:cxn>
                <a:cxn ang="0">
                  <a:pos x="17" y="77"/>
                </a:cxn>
                <a:cxn ang="0">
                  <a:pos x="23" y="72"/>
                </a:cxn>
                <a:cxn ang="0">
                  <a:pos x="24" y="52"/>
                </a:cxn>
                <a:cxn ang="0">
                  <a:pos x="29" y="45"/>
                </a:cxn>
                <a:cxn ang="0">
                  <a:pos x="28" y="32"/>
                </a:cxn>
              </a:cxnLst>
              <a:rect l="0" t="0" r="r" b="b"/>
              <a:pathLst>
                <a:path w="113" h="227">
                  <a:moveTo>
                    <a:pt x="28" y="32"/>
                  </a:moveTo>
                  <a:cubicBezTo>
                    <a:pt x="29" y="29"/>
                    <a:pt x="29" y="32"/>
                    <a:pt x="30" y="31"/>
                  </a:cubicBezTo>
                  <a:cubicBezTo>
                    <a:pt x="32" y="31"/>
                    <a:pt x="32" y="29"/>
                    <a:pt x="35" y="28"/>
                  </a:cubicBezTo>
                  <a:cubicBezTo>
                    <a:pt x="38" y="27"/>
                    <a:pt x="43" y="29"/>
                    <a:pt x="46" y="27"/>
                  </a:cubicBezTo>
                  <a:cubicBezTo>
                    <a:pt x="49" y="26"/>
                    <a:pt x="50" y="23"/>
                    <a:pt x="52" y="20"/>
                  </a:cubicBezTo>
                  <a:cubicBezTo>
                    <a:pt x="54" y="18"/>
                    <a:pt x="57" y="16"/>
                    <a:pt x="59" y="12"/>
                  </a:cubicBezTo>
                  <a:cubicBezTo>
                    <a:pt x="60" y="9"/>
                    <a:pt x="57" y="4"/>
                    <a:pt x="61" y="2"/>
                  </a:cubicBezTo>
                  <a:cubicBezTo>
                    <a:pt x="65" y="0"/>
                    <a:pt x="74" y="0"/>
                    <a:pt x="78" y="4"/>
                  </a:cubicBezTo>
                  <a:cubicBezTo>
                    <a:pt x="82" y="7"/>
                    <a:pt x="78" y="15"/>
                    <a:pt x="79" y="18"/>
                  </a:cubicBezTo>
                  <a:cubicBezTo>
                    <a:pt x="80" y="22"/>
                    <a:pt x="82" y="23"/>
                    <a:pt x="84" y="24"/>
                  </a:cubicBezTo>
                  <a:cubicBezTo>
                    <a:pt x="86" y="26"/>
                    <a:pt x="89" y="23"/>
                    <a:pt x="91" y="28"/>
                  </a:cubicBezTo>
                  <a:cubicBezTo>
                    <a:pt x="93" y="33"/>
                    <a:pt x="90" y="45"/>
                    <a:pt x="93" y="51"/>
                  </a:cubicBezTo>
                  <a:cubicBezTo>
                    <a:pt x="96" y="57"/>
                    <a:pt x="103" y="61"/>
                    <a:pt x="108" y="64"/>
                  </a:cubicBezTo>
                  <a:cubicBezTo>
                    <a:pt x="108" y="69"/>
                    <a:pt x="107" y="74"/>
                    <a:pt x="107" y="78"/>
                  </a:cubicBezTo>
                  <a:cubicBezTo>
                    <a:pt x="107" y="85"/>
                    <a:pt x="105" y="85"/>
                    <a:pt x="105" y="88"/>
                  </a:cubicBezTo>
                  <a:cubicBezTo>
                    <a:pt x="105" y="91"/>
                    <a:pt x="109" y="91"/>
                    <a:pt x="110" y="94"/>
                  </a:cubicBezTo>
                  <a:cubicBezTo>
                    <a:pt x="111" y="97"/>
                    <a:pt x="113" y="100"/>
                    <a:pt x="111" y="104"/>
                  </a:cubicBezTo>
                  <a:cubicBezTo>
                    <a:pt x="109" y="107"/>
                    <a:pt x="100" y="110"/>
                    <a:pt x="98" y="112"/>
                  </a:cubicBezTo>
                  <a:cubicBezTo>
                    <a:pt x="97" y="114"/>
                    <a:pt x="97" y="114"/>
                    <a:pt x="98" y="115"/>
                  </a:cubicBezTo>
                  <a:lnTo>
                    <a:pt x="98" y="115"/>
                  </a:lnTo>
                  <a:cubicBezTo>
                    <a:pt x="95" y="117"/>
                    <a:pt x="90" y="118"/>
                    <a:pt x="88" y="120"/>
                  </a:cubicBezTo>
                  <a:cubicBezTo>
                    <a:pt x="85" y="123"/>
                    <a:pt x="86" y="128"/>
                    <a:pt x="83" y="129"/>
                  </a:cubicBezTo>
                  <a:cubicBezTo>
                    <a:pt x="81" y="131"/>
                    <a:pt x="77" y="128"/>
                    <a:pt x="74" y="130"/>
                  </a:cubicBezTo>
                  <a:cubicBezTo>
                    <a:pt x="72" y="132"/>
                    <a:pt x="70" y="135"/>
                    <a:pt x="71" y="139"/>
                  </a:cubicBezTo>
                  <a:cubicBezTo>
                    <a:pt x="73" y="143"/>
                    <a:pt x="78" y="146"/>
                    <a:pt x="81" y="150"/>
                  </a:cubicBezTo>
                  <a:cubicBezTo>
                    <a:pt x="83" y="153"/>
                    <a:pt x="83" y="158"/>
                    <a:pt x="86" y="159"/>
                  </a:cubicBezTo>
                  <a:cubicBezTo>
                    <a:pt x="89" y="161"/>
                    <a:pt x="94" y="159"/>
                    <a:pt x="97" y="159"/>
                  </a:cubicBezTo>
                  <a:cubicBezTo>
                    <a:pt x="99" y="161"/>
                    <a:pt x="100" y="163"/>
                    <a:pt x="101" y="165"/>
                  </a:cubicBezTo>
                  <a:cubicBezTo>
                    <a:pt x="100" y="179"/>
                    <a:pt x="99" y="192"/>
                    <a:pt x="99" y="206"/>
                  </a:cubicBezTo>
                  <a:cubicBezTo>
                    <a:pt x="96" y="207"/>
                    <a:pt x="95" y="210"/>
                    <a:pt x="92" y="210"/>
                  </a:cubicBezTo>
                  <a:cubicBezTo>
                    <a:pt x="88" y="211"/>
                    <a:pt x="81" y="209"/>
                    <a:pt x="78" y="209"/>
                  </a:cubicBezTo>
                  <a:cubicBezTo>
                    <a:pt x="74" y="210"/>
                    <a:pt x="73" y="212"/>
                    <a:pt x="71" y="215"/>
                  </a:cubicBezTo>
                  <a:cubicBezTo>
                    <a:pt x="70" y="217"/>
                    <a:pt x="73" y="221"/>
                    <a:pt x="71" y="223"/>
                  </a:cubicBezTo>
                  <a:cubicBezTo>
                    <a:pt x="68" y="225"/>
                    <a:pt x="64" y="221"/>
                    <a:pt x="61" y="221"/>
                  </a:cubicBezTo>
                  <a:cubicBezTo>
                    <a:pt x="58" y="222"/>
                    <a:pt x="58" y="227"/>
                    <a:pt x="55" y="226"/>
                  </a:cubicBezTo>
                  <a:cubicBezTo>
                    <a:pt x="51" y="225"/>
                    <a:pt x="47" y="217"/>
                    <a:pt x="44" y="215"/>
                  </a:cubicBezTo>
                  <a:cubicBezTo>
                    <a:pt x="41" y="213"/>
                    <a:pt x="40" y="216"/>
                    <a:pt x="37" y="215"/>
                  </a:cubicBezTo>
                  <a:cubicBezTo>
                    <a:pt x="34" y="214"/>
                    <a:pt x="30" y="210"/>
                    <a:pt x="27" y="207"/>
                  </a:cubicBezTo>
                  <a:cubicBezTo>
                    <a:pt x="24" y="205"/>
                    <a:pt x="21" y="204"/>
                    <a:pt x="18" y="200"/>
                  </a:cubicBezTo>
                  <a:cubicBezTo>
                    <a:pt x="15" y="196"/>
                    <a:pt x="9" y="189"/>
                    <a:pt x="7" y="186"/>
                  </a:cubicBezTo>
                  <a:cubicBezTo>
                    <a:pt x="6" y="182"/>
                    <a:pt x="10" y="181"/>
                    <a:pt x="10" y="179"/>
                  </a:cubicBezTo>
                  <a:cubicBezTo>
                    <a:pt x="9" y="176"/>
                    <a:pt x="5" y="176"/>
                    <a:pt x="4" y="173"/>
                  </a:cubicBezTo>
                  <a:cubicBezTo>
                    <a:pt x="3" y="170"/>
                    <a:pt x="7" y="166"/>
                    <a:pt x="6" y="163"/>
                  </a:cubicBezTo>
                  <a:cubicBezTo>
                    <a:pt x="5" y="159"/>
                    <a:pt x="1" y="156"/>
                    <a:pt x="1" y="153"/>
                  </a:cubicBezTo>
                  <a:cubicBezTo>
                    <a:pt x="0" y="150"/>
                    <a:pt x="3" y="149"/>
                    <a:pt x="4" y="146"/>
                  </a:cubicBezTo>
                  <a:cubicBezTo>
                    <a:pt x="5" y="144"/>
                    <a:pt x="5" y="140"/>
                    <a:pt x="6" y="136"/>
                  </a:cubicBezTo>
                  <a:cubicBezTo>
                    <a:pt x="6" y="133"/>
                    <a:pt x="7" y="128"/>
                    <a:pt x="7" y="123"/>
                  </a:cubicBezTo>
                  <a:cubicBezTo>
                    <a:pt x="7" y="119"/>
                    <a:pt x="5" y="113"/>
                    <a:pt x="5" y="110"/>
                  </a:cubicBezTo>
                  <a:cubicBezTo>
                    <a:pt x="6" y="107"/>
                    <a:pt x="9" y="107"/>
                    <a:pt x="10" y="104"/>
                  </a:cubicBezTo>
                  <a:cubicBezTo>
                    <a:pt x="10" y="101"/>
                    <a:pt x="6" y="94"/>
                    <a:pt x="8" y="91"/>
                  </a:cubicBezTo>
                  <a:cubicBezTo>
                    <a:pt x="10" y="87"/>
                    <a:pt x="17" y="92"/>
                    <a:pt x="19" y="89"/>
                  </a:cubicBezTo>
                  <a:cubicBezTo>
                    <a:pt x="21" y="86"/>
                    <a:pt x="17" y="80"/>
                    <a:pt x="17" y="77"/>
                  </a:cubicBezTo>
                  <a:cubicBezTo>
                    <a:pt x="18" y="74"/>
                    <a:pt x="22" y="77"/>
                    <a:pt x="23" y="72"/>
                  </a:cubicBezTo>
                  <a:cubicBezTo>
                    <a:pt x="24" y="68"/>
                    <a:pt x="23" y="57"/>
                    <a:pt x="24" y="52"/>
                  </a:cubicBezTo>
                  <a:cubicBezTo>
                    <a:pt x="25" y="47"/>
                    <a:pt x="28" y="48"/>
                    <a:pt x="29" y="45"/>
                  </a:cubicBezTo>
                  <a:cubicBezTo>
                    <a:pt x="30" y="41"/>
                    <a:pt x="28" y="34"/>
                    <a:pt x="28" y="3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5" name="Freeform 9"/>
            <p:cNvSpPr>
              <a:spLocks noEditPoints="1"/>
            </p:cNvSpPr>
            <p:nvPr/>
          </p:nvSpPr>
          <p:spPr bwMode="auto">
            <a:xfrm rot="21439583">
              <a:off x="2045390" y="4696010"/>
              <a:ext cx="1344150" cy="1263539"/>
            </a:xfrm>
            <a:custGeom>
              <a:avLst/>
              <a:gdLst/>
              <a:ahLst/>
              <a:cxnLst>
                <a:cxn ang="0">
                  <a:pos x="210" y="238"/>
                </a:cxn>
                <a:cxn ang="0">
                  <a:pos x="199" y="253"/>
                </a:cxn>
                <a:cxn ang="0">
                  <a:pos x="167" y="264"/>
                </a:cxn>
                <a:cxn ang="0">
                  <a:pos x="160" y="247"/>
                </a:cxn>
                <a:cxn ang="0">
                  <a:pos x="142" y="251"/>
                </a:cxn>
                <a:cxn ang="0">
                  <a:pos x="120" y="238"/>
                </a:cxn>
                <a:cxn ang="0">
                  <a:pos x="111" y="226"/>
                </a:cxn>
                <a:cxn ang="0">
                  <a:pos x="92" y="218"/>
                </a:cxn>
                <a:cxn ang="0">
                  <a:pos x="77" y="201"/>
                </a:cxn>
                <a:cxn ang="0">
                  <a:pos x="49" y="182"/>
                </a:cxn>
                <a:cxn ang="0">
                  <a:pos x="35" y="183"/>
                </a:cxn>
                <a:cxn ang="0">
                  <a:pos x="19" y="162"/>
                </a:cxn>
                <a:cxn ang="0">
                  <a:pos x="10" y="145"/>
                </a:cxn>
                <a:cxn ang="0">
                  <a:pos x="1" y="126"/>
                </a:cxn>
                <a:cxn ang="0">
                  <a:pos x="15" y="120"/>
                </a:cxn>
                <a:cxn ang="0">
                  <a:pos x="27" y="106"/>
                </a:cxn>
                <a:cxn ang="0">
                  <a:pos x="43" y="112"/>
                </a:cxn>
                <a:cxn ang="0">
                  <a:pos x="55" y="91"/>
                </a:cxn>
                <a:cxn ang="0">
                  <a:pos x="58" y="79"/>
                </a:cxn>
                <a:cxn ang="0">
                  <a:pos x="79" y="80"/>
                </a:cxn>
                <a:cxn ang="0">
                  <a:pos x="98" y="86"/>
                </a:cxn>
                <a:cxn ang="0">
                  <a:pos x="109" y="106"/>
                </a:cxn>
                <a:cxn ang="0">
                  <a:pos x="128" y="107"/>
                </a:cxn>
                <a:cxn ang="0">
                  <a:pos x="128" y="83"/>
                </a:cxn>
                <a:cxn ang="0">
                  <a:pos x="131" y="67"/>
                </a:cxn>
                <a:cxn ang="0">
                  <a:pos x="151" y="71"/>
                </a:cxn>
                <a:cxn ang="0">
                  <a:pos x="140" y="44"/>
                </a:cxn>
                <a:cxn ang="0">
                  <a:pos x="147" y="27"/>
                </a:cxn>
                <a:cxn ang="0">
                  <a:pos x="170" y="12"/>
                </a:cxn>
                <a:cxn ang="0">
                  <a:pos x="179" y="4"/>
                </a:cxn>
                <a:cxn ang="0">
                  <a:pos x="196" y="21"/>
                </a:cxn>
                <a:cxn ang="0">
                  <a:pos x="224" y="40"/>
                </a:cxn>
                <a:cxn ang="0">
                  <a:pos x="235" y="48"/>
                </a:cxn>
                <a:cxn ang="0">
                  <a:pos x="228" y="81"/>
                </a:cxn>
                <a:cxn ang="0">
                  <a:pos x="226" y="101"/>
                </a:cxn>
                <a:cxn ang="0">
                  <a:pos x="225" y="132"/>
                </a:cxn>
                <a:cxn ang="0">
                  <a:pos x="218" y="145"/>
                </a:cxn>
                <a:cxn ang="0">
                  <a:pos x="203" y="173"/>
                </a:cxn>
                <a:cxn ang="0">
                  <a:pos x="191" y="189"/>
                </a:cxn>
                <a:cxn ang="0">
                  <a:pos x="191" y="210"/>
                </a:cxn>
                <a:cxn ang="0">
                  <a:pos x="211" y="225"/>
                </a:cxn>
                <a:cxn ang="0">
                  <a:pos x="177" y="1"/>
                </a:cxn>
                <a:cxn ang="0">
                  <a:pos x="58" y="76"/>
                </a:cxn>
                <a:cxn ang="0">
                  <a:pos x="57" y="76"/>
                </a:cxn>
              </a:cxnLst>
              <a:rect l="0" t="0" r="r" b="b"/>
              <a:pathLst>
                <a:path w="241" h="266">
                  <a:moveTo>
                    <a:pt x="220" y="231"/>
                  </a:moveTo>
                  <a:cubicBezTo>
                    <a:pt x="224" y="234"/>
                    <a:pt x="227" y="237"/>
                    <a:pt x="224" y="238"/>
                  </a:cubicBezTo>
                  <a:cubicBezTo>
                    <a:pt x="221" y="239"/>
                    <a:pt x="213" y="236"/>
                    <a:pt x="210" y="238"/>
                  </a:cubicBezTo>
                  <a:cubicBezTo>
                    <a:pt x="206" y="240"/>
                    <a:pt x="209" y="244"/>
                    <a:pt x="208" y="246"/>
                  </a:cubicBezTo>
                  <a:cubicBezTo>
                    <a:pt x="206" y="247"/>
                    <a:pt x="205" y="244"/>
                    <a:pt x="203" y="246"/>
                  </a:cubicBezTo>
                  <a:cubicBezTo>
                    <a:pt x="201" y="247"/>
                    <a:pt x="204" y="252"/>
                    <a:pt x="199" y="253"/>
                  </a:cubicBezTo>
                  <a:cubicBezTo>
                    <a:pt x="195" y="254"/>
                    <a:pt x="185" y="250"/>
                    <a:pt x="181" y="253"/>
                  </a:cubicBezTo>
                  <a:cubicBezTo>
                    <a:pt x="177" y="255"/>
                    <a:pt x="184" y="261"/>
                    <a:pt x="180" y="264"/>
                  </a:cubicBezTo>
                  <a:cubicBezTo>
                    <a:pt x="177" y="266"/>
                    <a:pt x="171" y="265"/>
                    <a:pt x="167" y="264"/>
                  </a:cubicBezTo>
                  <a:cubicBezTo>
                    <a:pt x="163" y="263"/>
                    <a:pt x="160" y="260"/>
                    <a:pt x="160" y="257"/>
                  </a:cubicBezTo>
                  <a:cubicBezTo>
                    <a:pt x="159" y="255"/>
                    <a:pt x="165" y="258"/>
                    <a:pt x="166" y="255"/>
                  </a:cubicBezTo>
                  <a:cubicBezTo>
                    <a:pt x="166" y="253"/>
                    <a:pt x="163" y="249"/>
                    <a:pt x="160" y="247"/>
                  </a:cubicBezTo>
                  <a:cubicBezTo>
                    <a:pt x="157" y="246"/>
                    <a:pt x="153" y="249"/>
                    <a:pt x="150" y="248"/>
                  </a:cubicBezTo>
                  <a:cubicBezTo>
                    <a:pt x="147" y="248"/>
                    <a:pt x="146" y="243"/>
                    <a:pt x="144" y="244"/>
                  </a:cubicBezTo>
                  <a:cubicBezTo>
                    <a:pt x="142" y="245"/>
                    <a:pt x="146" y="250"/>
                    <a:pt x="142" y="251"/>
                  </a:cubicBezTo>
                  <a:cubicBezTo>
                    <a:pt x="139" y="252"/>
                    <a:pt x="130" y="252"/>
                    <a:pt x="127" y="250"/>
                  </a:cubicBezTo>
                  <a:cubicBezTo>
                    <a:pt x="123" y="247"/>
                    <a:pt x="127" y="241"/>
                    <a:pt x="126" y="238"/>
                  </a:cubicBezTo>
                  <a:cubicBezTo>
                    <a:pt x="124" y="236"/>
                    <a:pt x="122" y="239"/>
                    <a:pt x="120" y="238"/>
                  </a:cubicBezTo>
                  <a:cubicBezTo>
                    <a:pt x="118" y="237"/>
                    <a:pt x="117" y="236"/>
                    <a:pt x="115" y="235"/>
                  </a:cubicBezTo>
                  <a:cubicBezTo>
                    <a:pt x="114" y="234"/>
                    <a:pt x="112" y="234"/>
                    <a:pt x="111" y="232"/>
                  </a:cubicBezTo>
                  <a:cubicBezTo>
                    <a:pt x="110" y="231"/>
                    <a:pt x="113" y="227"/>
                    <a:pt x="111" y="226"/>
                  </a:cubicBezTo>
                  <a:cubicBezTo>
                    <a:pt x="109" y="225"/>
                    <a:pt x="105" y="227"/>
                    <a:pt x="103" y="226"/>
                  </a:cubicBezTo>
                  <a:cubicBezTo>
                    <a:pt x="101" y="225"/>
                    <a:pt x="101" y="223"/>
                    <a:pt x="99" y="222"/>
                  </a:cubicBezTo>
                  <a:cubicBezTo>
                    <a:pt x="98" y="220"/>
                    <a:pt x="95" y="220"/>
                    <a:pt x="92" y="218"/>
                  </a:cubicBezTo>
                  <a:cubicBezTo>
                    <a:pt x="90" y="217"/>
                    <a:pt x="88" y="215"/>
                    <a:pt x="86" y="213"/>
                  </a:cubicBezTo>
                  <a:cubicBezTo>
                    <a:pt x="84" y="211"/>
                    <a:pt x="83" y="208"/>
                    <a:pt x="82" y="206"/>
                  </a:cubicBezTo>
                  <a:cubicBezTo>
                    <a:pt x="80" y="204"/>
                    <a:pt x="79" y="202"/>
                    <a:pt x="77" y="201"/>
                  </a:cubicBezTo>
                  <a:cubicBezTo>
                    <a:pt x="75" y="200"/>
                    <a:pt x="72" y="202"/>
                    <a:pt x="71" y="200"/>
                  </a:cubicBezTo>
                  <a:cubicBezTo>
                    <a:pt x="69" y="199"/>
                    <a:pt x="75" y="199"/>
                    <a:pt x="72" y="195"/>
                  </a:cubicBezTo>
                  <a:cubicBezTo>
                    <a:pt x="68" y="192"/>
                    <a:pt x="55" y="183"/>
                    <a:pt x="49" y="182"/>
                  </a:cubicBezTo>
                  <a:cubicBezTo>
                    <a:pt x="44" y="181"/>
                    <a:pt x="51" y="187"/>
                    <a:pt x="49" y="189"/>
                  </a:cubicBezTo>
                  <a:cubicBezTo>
                    <a:pt x="48" y="191"/>
                    <a:pt x="45" y="191"/>
                    <a:pt x="43" y="190"/>
                  </a:cubicBezTo>
                  <a:cubicBezTo>
                    <a:pt x="40" y="189"/>
                    <a:pt x="37" y="185"/>
                    <a:pt x="35" y="183"/>
                  </a:cubicBezTo>
                  <a:cubicBezTo>
                    <a:pt x="33" y="180"/>
                    <a:pt x="35" y="178"/>
                    <a:pt x="33" y="175"/>
                  </a:cubicBezTo>
                  <a:cubicBezTo>
                    <a:pt x="31" y="172"/>
                    <a:pt x="27" y="168"/>
                    <a:pt x="25" y="166"/>
                  </a:cubicBezTo>
                  <a:cubicBezTo>
                    <a:pt x="23" y="164"/>
                    <a:pt x="20" y="164"/>
                    <a:pt x="19" y="162"/>
                  </a:cubicBezTo>
                  <a:cubicBezTo>
                    <a:pt x="19" y="160"/>
                    <a:pt x="22" y="158"/>
                    <a:pt x="22" y="156"/>
                  </a:cubicBezTo>
                  <a:cubicBezTo>
                    <a:pt x="22" y="153"/>
                    <a:pt x="20" y="151"/>
                    <a:pt x="18" y="149"/>
                  </a:cubicBezTo>
                  <a:cubicBezTo>
                    <a:pt x="16" y="147"/>
                    <a:pt x="12" y="147"/>
                    <a:pt x="10" y="145"/>
                  </a:cubicBezTo>
                  <a:cubicBezTo>
                    <a:pt x="8" y="142"/>
                    <a:pt x="11" y="138"/>
                    <a:pt x="10" y="136"/>
                  </a:cubicBezTo>
                  <a:cubicBezTo>
                    <a:pt x="8" y="134"/>
                    <a:pt x="4" y="137"/>
                    <a:pt x="3" y="135"/>
                  </a:cubicBezTo>
                  <a:cubicBezTo>
                    <a:pt x="1" y="132"/>
                    <a:pt x="1" y="128"/>
                    <a:pt x="1" y="126"/>
                  </a:cubicBezTo>
                  <a:cubicBezTo>
                    <a:pt x="0" y="123"/>
                    <a:pt x="0" y="120"/>
                    <a:pt x="2" y="118"/>
                  </a:cubicBezTo>
                  <a:cubicBezTo>
                    <a:pt x="3" y="117"/>
                    <a:pt x="6" y="116"/>
                    <a:pt x="8" y="117"/>
                  </a:cubicBezTo>
                  <a:cubicBezTo>
                    <a:pt x="11" y="117"/>
                    <a:pt x="13" y="120"/>
                    <a:pt x="15" y="120"/>
                  </a:cubicBezTo>
                  <a:cubicBezTo>
                    <a:pt x="17" y="120"/>
                    <a:pt x="17" y="118"/>
                    <a:pt x="18" y="116"/>
                  </a:cubicBezTo>
                  <a:cubicBezTo>
                    <a:pt x="19" y="114"/>
                    <a:pt x="18" y="109"/>
                    <a:pt x="20" y="107"/>
                  </a:cubicBezTo>
                  <a:cubicBezTo>
                    <a:pt x="22" y="105"/>
                    <a:pt x="25" y="105"/>
                    <a:pt x="27" y="106"/>
                  </a:cubicBezTo>
                  <a:cubicBezTo>
                    <a:pt x="29" y="107"/>
                    <a:pt x="27" y="111"/>
                    <a:pt x="29" y="111"/>
                  </a:cubicBezTo>
                  <a:cubicBezTo>
                    <a:pt x="32" y="112"/>
                    <a:pt x="36" y="108"/>
                    <a:pt x="39" y="108"/>
                  </a:cubicBezTo>
                  <a:cubicBezTo>
                    <a:pt x="42" y="108"/>
                    <a:pt x="41" y="113"/>
                    <a:pt x="43" y="112"/>
                  </a:cubicBezTo>
                  <a:cubicBezTo>
                    <a:pt x="46" y="111"/>
                    <a:pt x="48" y="107"/>
                    <a:pt x="49" y="105"/>
                  </a:cubicBezTo>
                  <a:cubicBezTo>
                    <a:pt x="50" y="102"/>
                    <a:pt x="48" y="100"/>
                    <a:pt x="49" y="97"/>
                  </a:cubicBezTo>
                  <a:cubicBezTo>
                    <a:pt x="50" y="95"/>
                    <a:pt x="53" y="93"/>
                    <a:pt x="55" y="91"/>
                  </a:cubicBezTo>
                  <a:cubicBezTo>
                    <a:pt x="56" y="88"/>
                    <a:pt x="57" y="86"/>
                    <a:pt x="58" y="83"/>
                  </a:cubicBezTo>
                  <a:cubicBezTo>
                    <a:pt x="58" y="81"/>
                    <a:pt x="58" y="79"/>
                    <a:pt x="58" y="77"/>
                  </a:cubicBezTo>
                  <a:cubicBezTo>
                    <a:pt x="58" y="77"/>
                    <a:pt x="58" y="78"/>
                    <a:pt x="58" y="79"/>
                  </a:cubicBezTo>
                  <a:cubicBezTo>
                    <a:pt x="62" y="76"/>
                    <a:pt x="65" y="73"/>
                    <a:pt x="68" y="73"/>
                  </a:cubicBezTo>
                  <a:cubicBezTo>
                    <a:pt x="74" y="74"/>
                    <a:pt x="70" y="76"/>
                    <a:pt x="72" y="77"/>
                  </a:cubicBezTo>
                  <a:cubicBezTo>
                    <a:pt x="74" y="78"/>
                    <a:pt x="77" y="78"/>
                    <a:pt x="79" y="80"/>
                  </a:cubicBezTo>
                  <a:cubicBezTo>
                    <a:pt x="80" y="82"/>
                    <a:pt x="77" y="86"/>
                    <a:pt x="80" y="88"/>
                  </a:cubicBezTo>
                  <a:cubicBezTo>
                    <a:pt x="82" y="89"/>
                    <a:pt x="86" y="88"/>
                    <a:pt x="89" y="88"/>
                  </a:cubicBezTo>
                  <a:cubicBezTo>
                    <a:pt x="92" y="87"/>
                    <a:pt x="95" y="85"/>
                    <a:pt x="98" y="86"/>
                  </a:cubicBezTo>
                  <a:cubicBezTo>
                    <a:pt x="101" y="86"/>
                    <a:pt x="105" y="87"/>
                    <a:pt x="107" y="90"/>
                  </a:cubicBezTo>
                  <a:cubicBezTo>
                    <a:pt x="108" y="92"/>
                    <a:pt x="107" y="97"/>
                    <a:pt x="107" y="100"/>
                  </a:cubicBezTo>
                  <a:cubicBezTo>
                    <a:pt x="108" y="102"/>
                    <a:pt x="106" y="106"/>
                    <a:pt x="109" y="106"/>
                  </a:cubicBezTo>
                  <a:cubicBezTo>
                    <a:pt x="111" y="106"/>
                    <a:pt x="113" y="100"/>
                    <a:pt x="116" y="100"/>
                  </a:cubicBezTo>
                  <a:cubicBezTo>
                    <a:pt x="119" y="99"/>
                    <a:pt x="119" y="102"/>
                    <a:pt x="121" y="103"/>
                  </a:cubicBezTo>
                  <a:cubicBezTo>
                    <a:pt x="123" y="104"/>
                    <a:pt x="125" y="107"/>
                    <a:pt x="128" y="107"/>
                  </a:cubicBezTo>
                  <a:cubicBezTo>
                    <a:pt x="130" y="108"/>
                    <a:pt x="133" y="109"/>
                    <a:pt x="135" y="105"/>
                  </a:cubicBezTo>
                  <a:cubicBezTo>
                    <a:pt x="136" y="101"/>
                    <a:pt x="135" y="92"/>
                    <a:pt x="134" y="88"/>
                  </a:cubicBezTo>
                  <a:cubicBezTo>
                    <a:pt x="133" y="84"/>
                    <a:pt x="130" y="85"/>
                    <a:pt x="128" y="83"/>
                  </a:cubicBezTo>
                  <a:cubicBezTo>
                    <a:pt x="127" y="82"/>
                    <a:pt x="125" y="81"/>
                    <a:pt x="124" y="78"/>
                  </a:cubicBezTo>
                  <a:cubicBezTo>
                    <a:pt x="123" y="75"/>
                    <a:pt x="121" y="68"/>
                    <a:pt x="123" y="65"/>
                  </a:cubicBezTo>
                  <a:cubicBezTo>
                    <a:pt x="125" y="62"/>
                    <a:pt x="128" y="66"/>
                    <a:pt x="131" y="67"/>
                  </a:cubicBezTo>
                  <a:cubicBezTo>
                    <a:pt x="134" y="69"/>
                    <a:pt x="136" y="75"/>
                    <a:pt x="139" y="76"/>
                  </a:cubicBezTo>
                  <a:cubicBezTo>
                    <a:pt x="142" y="78"/>
                    <a:pt x="144" y="77"/>
                    <a:pt x="146" y="76"/>
                  </a:cubicBezTo>
                  <a:cubicBezTo>
                    <a:pt x="148" y="75"/>
                    <a:pt x="150" y="72"/>
                    <a:pt x="151" y="71"/>
                  </a:cubicBezTo>
                  <a:cubicBezTo>
                    <a:pt x="151" y="70"/>
                    <a:pt x="151" y="60"/>
                    <a:pt x="151" y="58"/>
                  </a:cubicBezTo>
                  <a:cubicBezTo>
                    <a:pt x="150" y="55"/>
                    <a:pt x="147" y="50"/>
                    <a:pt x="147" y="50"/>
                  </a:cubicBezTo>
                  <a:cubicBezTo>
                    <a:pt x="147" y="50"/>
                    <a:pt x="142" y="45"/>
                    <a:pt x="140" y="44"/>
                  </a:cubicBezTo>
                  <a:cubicBezTo>
                    <a:pt x="138" y="42"/>
                    <a:pt x="137" y="37"/>
                    <a:pt x="137" y="36"/>
                  </a:cubicBezTo>
                  <a:cubicBezTo>
                    <a:pt x="137" y="34"/>
                    <a:pt x="133" y="29"/>
                    <a:pt x="135" y="27"/>
                  </a:cubicBezTo>
                  <a:cubicBezTo>
                    <a:pt x="138" y="25"/>
                    <a:pt x="144" y="27"/>
                    <a:pt x="147" y="27"/>
                  </a:cubicBezTo>
                  <a:cubicBezTo>
                    <a:pt x="151" y="27"/>
                    <a:pt x="154" y="29"/>
                    <a:pt x="157" y="25"/>
                  </a:cubicBezTo>
                  <a:cubicBezTo>
                    <a:pt x="159" y="21"/>
                    <a:pt x="156" y="11"/>
                    <a:pt x="160" y="8"/>
                  </a:cubicBezTo>
                  <a:cubicBezTo>
                    <a:pt x="163" y="5"/>
                    <a:pt x="167" y="13"/>
                    <a:pt x="170" y="12"/>
                  </a:cubicBezTo>
                  <a:cubicBezTo>
                    <a:pt x="173" y="11"/>
                    <a:pt x="169" y="8"/>
                    <a:pt x="169" y="6"/>
                  </a:cubicBezTo>
                  <a:cubicBezTo>
                    <a:pt x="169" y="4"/>
                    <a:pt x="166" y="1"/>
                    <a:pt x="170" y="0"/>
                  </a:cubicBezTo>
                  <a:cubicBezTo>
                    <a:pt x="172" y="0"/>
                    <a:pt x="175" y="2"/>
                    <a:pt x="179" y="4"/>
                  </a:cubicBezTo>
                  <a:cubicBezTo>
                    <a:pt x="178" y="3"/>
                    <a:pt x="177" y="2"/>
                    <a:pt x="177" y="1"/>
                  </a:cubicBezTo>
                  <a:cubicBezTo>
                    <a:pt x="179" y="5"/>
                    <a:pt x="184" y="11"/>
                    <a:pt x="187" y="14"/>
                  </a:cubicBezTo>
                  <a:cubicBezTo>
                    <a:pt x="190" y="18"/>
                    <a:pt x="193" y="19"/>
                    <a:pt x="196" y="21"/>
                  </a:cubicBezTo>
                  <a:cubicBezTo>
                    <a:pt x="199" y="24"/>
                    <a:pt x="203" y="28"/>
                    <a:pt x="206" y="29"/>
                  </a:cubicBezTo>
                  <a:cubicBezTo>
                    <a:pt x="209" y="30"/>
                    <a:pt x="210" y="27"/>
                    <a:pt x="213" y="29"/>
                  </a:cubicBezTo>
                  <a:cubicBezTo>
                    <a:pt x="216" y="31"/>
                    <a:pt x="220" y="39"/>
                    <a:pt x="224" y="40"/>
                  </a:cubicBezTo>
                  <a:cubicBezTo>
                    <a:pt x="227" y="41"/>
                    <a:pt x="227" y="36"/>
                    <a:pt x="230" y="35"/>
                  </a:cubicBezTo>
                  <a:cubicBezTo>
                    <a:pt x="233" y="35"/>
                    <a:pt x="237" y="39"/>
                    <a:pt x="240" y="37"/>
                  </a:cubicBezTo>
                  <a:cubicBezTo>
                    <a:pt x="241" y="42"/>
                    <a:pt x="236" y="44"/>
                    <a:pt x="235" y="48"/>
                  </a:cubicBezTo>
                  <a:cubicBezTo>
                    <a:pt x="235" y="52"/>
                    <a:pt x="238" y="56"/>
                    <a:pt x="237" y="59"/>
                  </a:cubicBezTo>
                  <a:cubicBezTo>
                    <a:pt x="236" y="63"/>
                    <a:pt x="231" y="63"/>
                    <a:pt x="230" y="67"/>
                  </a:cubicBezTo>
                  <a:cubicBezTo>
                    <a:pt x="228" y="71"/>
                    <a:pt x="230" y="77"/>
                    <a:pt x="228" y="81"/>
                  </a:cubicBezTo>
                  <a:cubicBezTo>
                    <a:pt x="227" y="84"/>
                    <a:pt x="222" y="84"/>
                    <a:pt x="221" y="86"/>
                  </a:cubicBezTo>
                  <a:cubicBezTo>
                    <a:pt x="219" y="88"/>
                    <a:pt x="217" y="91"/>
                    <a:pt x="218" y="94"/>
                  </a:cubicBezTo>
                  <a:cubicBezTo>
                    <a:pt x="219" y="98"/>
                    <a:pt x="225" y="98"/>
                    <a:pt x="226" y="101"/>
                  </a:cubicBezTo>
                  <a:cubicBezTo>
                    <a:pt x="227" y="105"/>
                    <a:pt x="223" y="110"/>
                    <a:pt x="223" y="113"/>
                  </a:cubicBezTo>
                  <a:cubicBezTo>
                    <a:pt x="224" y="117"/>
                    <a:pt x="228" y="118"/>
                    <a:pt x="228" y="122"/>
                  </a:cubicBezTo>
                  <a:cubicBezTo>
                    <a:pt x="229" y="125"/>
                    <a:pt x="229" y="131"/>
                    <a:pt x="225" y="132"/>
                  </a:cubicBezTo>
                  <a:cubicBezTo>
                    <a:pt x="221" y="133"/>
                    <a:pt x="214" y="126"/>
                    <a:pt x="210" y="127"/>
                  </a:cubicBezTo>
                  <a:cubicBezTo>
                    <a:pt x="206" y="128"/>
                    <a:pt x="207" y="133"/>
                    <a:pt x="209" y="136"/>
                  </a:cubicBezTo>
                  <a:cubicBezTo>
                    <a:pt x="210" y="140"/>
                    <a:pt x="219" y="141"/>
                    <a:pt x="218" y="145"/>
                  </a:cubicBezTo>
                  <a:cubicBezTo>
                    <a:pt x="217" y="149"/>
                    <a:pt x="208" y="145"/>
                    <a:pt x="206" y="148"/>
                  </a:cubicBezTo>
                  <a:cubicBezTo>
                    <a:pt x="204" y="152"/>
                    <a:pt x="206" y="157"/>
                    <a:pt x="206" y="161"/>
                  </a:cubicBezTo>
                  <a:cubicBezTo>
                    <a:pt x="206" y="165"/>
                    <a:pt x="207" y="171"/>
                    <a:pt x="203" y="173"/>
                  </a:cubicBezTo>
                  <a:cubicBezTo>
                    <a:pt x="200" y="175"/>
                    <a:pt x="194" y="169"/>
                    <a:pt x="191" y="171"/>
                  </a:cubicBezTo>
                  <a:cubicBezTo>
                    <a:pt x="187" y="172"/>
                    <a:pt x="187" y="177"/>
                    <a:pt x="187" y="180"/>
                  </a:cubicBezTo>
                  <a:cubicBezTo>
                    <a:pt x="187" y="183"/>
                    <a:pt x="195" y="186"/>
                    <a:pt x="191" y="189"/>
                  </a:cubicBezTo>
                  <a:cubicBezTo>
                    <a:pt x="188" y="191"/>
                    <a:pt x="179" y="184"/>
                    <a:pt x="177" y="189"/>
                  </a:cubicBezTo>
                  <a:cubicBezTo>
                    <a:pt x="175" y="193"/>
                    <a:pt x="185" y="194"/>
                    <a:pt x="187" y="198"/>
                  </a:cubicBezTo>
                  <a:cubicBezTo>
                    <a:pt x="190" y="202"/>
                    <a:pt x="190" y="206"/>
                    <a:pt x="191" y="210"/>
                  </a:cubicBezTo>
                  <a:cubicBezTo>
                    <a:pt x="193" y="214"/>
                    <a:pt x="192" y="221"/>
                    <a:pt x="195" y="223"/>
                  </a:cubicBezTo>
                  <a:cubicBezTo>
                    <a:pt x="198" y="225"/>
                    <a:pt x="199" y="216"/>
                    <a:pt x="203" y="217"/>
                  </a:cubicBezTo>
                  <a:cubicBezTo>
                    <a:pt x="206" y="217"/>
                    <a:pt x="207" y="223"/>
                    <a:pt x="211" y="225"/>
                  </a:cubicBezTo>
                  <a:cubicBezTo>
                    <a:pt x="218" y="230"/>
                    <a:pt x="216" y="229"/>
                    <a:pt x="220" y="231"/>
                  </a:cubicBezTo>
                  <a:close/>
                  <a:moveTo>
                    <a:pt x="177" y="1"/>
                  </a:moveTo>
                  <a:cubicBezTo>
                    <a:pt x="177" y="1"/>
                    <a:pt x="177" y="1"/>
                    <a:pt x="177" y="1"/>
                  </a:cubicBezTo>
                  <a:cubicBezTo>
                    <a:pt x="177" y="1"/>
                    <a:pt x="177" y="1"/>
                    <a:pt x="177" y="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7"/>
                    <a:pt x="58" y="77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6"/>
                    <a:pt x="57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6" name="Freeform 12"/>
            <p:cNvSpPr>
              <a:spLocks noEditPoints="1"/>
            </p:cNvSpPr>
            <p:nvPr/>
          </p:nvSpPr>
          <p:spPr bwMode="auto">
            <a:xfrm rot="21439583">
              <a:off x="5098311" y="3274651"/>
              <a:ext cx="1306145" cy="1008108"/>
            </a:xfrm>
            <a:custGeom>
              <a:avLst/>
              <a:gdLst/>
              <a:ahLst/>
              <a:cxnLst>
                <a:cxn ang="0">
                  <a:pos x="139" y="12"/>
                </a:cxn>
                <a:cxn ang="0">
                  <a:pos x="156" y="21"/>
                </a:cxn>
                <a:cxn ang="0">
                  <a:pos x="170" y="32"/>
                </a:cxn>
                <a:cxn ang="0">
                  <a:pos x="190" y="16"/>
                </a:cxn>
                <a:cxn ang="0">
                  <a:pos x="220" y="14"/>
                </a:cxn>
                <a:cxn ang="0">
                  <a:pos x="222" y="48"/>
                </a:cxn>
                <a:cxn ang="0">
                  <a:pos x="199" y="61"/>
                </a:cxn>
                <a:cxn ang="0">
                  <a:pos x="186" y="73"/>
                </a:cxn>
                <a:cxn ang="0">
                  <a:pos x="176" y="87"/>
                </a:cxn>
                <a:cxn ang="0">
                  <a:pos x="184" y="108"/>
                </a:cxn>
                <a:cxn ang="0">
                  <a:pos x="193" y="126"/>
                </a:cxn>
                <a:cxn ang="0">
                  <a:pos x="193" y="145"/>
                </a:cxn>
                <a:cxn ang="0">
                  <a:pos x="201" y="172"/>
                </a:cxn>
                <a:cxn ang="0">
                  <a:pos x="181" y="197"/>
                </a:cxn>
                <a:cxn ang="0">
                  <a:pos x="168" y="189"/>
                </a:cxn>
                <a:cxn ang="0">
                  <a:pos x="156" y="199"/>
                </a:cxn>
                <a:cxn ang="0">
                  <a:pos x="130" y="187"/>
                </a:cxn>
                <a:cxn ang="0">
                  <a:pos x="112" y="182"/>
                </a:cxn>
                <a:cxn ang="0">
                  <a:pos x="103" y="147"/>
                </a:cxn>
                <a:cxn ang="0">
                  <a:pos x="76" y="150"/>
                </a:cxn>
                <a:cxn ang="0">
                  <a:pos x="61" y="182"/>
                </a:cxn>
                <a:cxn ang="0">
                  <a:pos x="47" y="189"/>
                </a:cxn>
                <a:cxn ang="0">
                  <a:pos x="23" y="207"/>
                </a:cxn>
                <a:cxn ang="0">
                  <a:pos x="0" y="192"/>
                </a:cxn>
                <a:cxn ang="0">
                  <a:pos x="11" y="178"/>
                </a:cxn>
                <a:cxn ang="0">
                  <a:pos x="18" y="159"/>
                </a:cxn>
                <a:cxn ang="0">
                  <a:pos x="13" y="133"/>
                </a:cxn>
                <a:cxn ang="0">
                  <a:pos x="26" y="125"/>
                </a:cxn>
                <a:cxn ang="0">
                  <a:pos x="10" y="108"/>
                </a:cxn>
                <a:cxn ang="0">
                  <a:pos x="12" y="79"/>
                </a:cxn>
                <a:cxn ang="0">
                  <a:pos x="23" y="73"/>
                </a:cxn>
                <a:cxn ang="0">
                  <a:pos x="29" y="54"/>
                </a:cxn>
                <a:cxn ang="0">
                  <a:pos x="42" y="44"/>
                </a:cxn>
                <a:cxn ang="0">
                  <a:pos x="52" y="52"/>
                </a:cxn>
                <a:cxn ang="0">
                  <a:pos x="64" y="67"/>
                </a:cxn>
                <a:cxn ang="0">
                  <a:pos x="77" y="81"/>
                </a:cxn>
                <a:cxn ang="0">
                  <a:pos x="85" y="57"/>
                </a:cxn>
                <a:cxn ang="0">
                  <a:pos x="89" y="36"/>
                </a:cxn>
                <a:cxn ang="0">
                  <a:pos x="107" y="16"/>
                </a:cxn>
                <a:cxn ang="0">
                  <a:pos x="128" y="0"/>
                </a:cxn>
                <a:cxn ang="0">
                  <a:pos x="234" y="174"/>
                </a:cxn>
                <a:cxn ang="0">
                  <a:pos x="181" y="197"/>
                </a:cxn>
                <a:cxn ang="0">
                  <a:pos x="181" y="197"/>
                </a:cxn>
                <a:cxn ang="0">
                  <a:pos x="181" y="197"/>
                </a:cxn>
              </a:cxnLst>
              <a:rect l="0" t="0" r="r" b="b"/>
              <a:pathLst>
                <a:path w="234" h="212">
                  <a:moveTo>
                    <a:pt x="128" y="0"/>
                  </a:moveTo>
                  <a:cubicBezTo>
                    <a:pt x="130" y="4"/>
                    <a:pt x="133" y="10"/>
                    <a:pt x="139" y="12"/>
                  </a:cubicBezTo>
                  <a:cubicBezTo>
                    <a:pt x="141" y="13"/>
                    <a:pt x="149" y="14"/>
                    <a:pt x="152" y="14"/>
                  </a:cubicBezTo>
                  <a:cubicBezTo>
                    <a:pt x="153" y="17"/>
                    <a:pt x="155" y="19"/>
                    <a:pt x="156" y="21"/>
                  </a:cubicBezTo>
                  <a:cubicBezTo>
                    <a:pt x="158" y="28"/>
                    <a:pt x="163" y="20"/>
                    <a:pt x="165" y="22"/>
                  </a:cubicBezTo>
                  <a:cubicBezTo>
                    <a:pt x="168" y="25"/>
                    <a:pt x="166" y="31"/>
                    <a:pt x="170" y="32"/>
                  </a:cubicBezTo>
                  <a:cubicBezTo>
                    <a:pt x="173" y="33"/>
                    <a:pt x="178" y="29"/>
                    <a:pt x="181" y="26"/>
                  </a:cubicBezTo>
                  <a:cubicBezTo>
                    <a:pt x="185" y="24"/>
                    <a:pt x="187" y="19"/>
                    <a:pt x="190" y="16"/>
                  </a:cubicBezTo>
                  <a:cubicBezTo>
                    <a:pt x="193" y="12"/>
                    <a:pt x="192" y="7"/>
                    <a:pt x="198" y="7"/>
                  </a:cubicBezTo>
                  <a:cubicBezTo>
                    <a:pt x="203" y="6"/>
                    <a:pt x="216" y="13"/>
                    <a:pt x="220" y="14"/>
                  </a:cubicBezTo>
                  <a:cubicBezTo>
                    <a:pt x="224" y="15"/>
                    <a:pt x="227" y="23"/>
                    <a:pt x="227" y="28"/>
                  </a:cubicBezTo>
                  <a:cubicBezTo>
                    <a:pt x="227" y="33"/>
                    <a:pt x="226" y="47"/>
                    <a:pt x="222" y="48"/>
                  </a:cubicBezTo>
                  <a:cubicBezTo>
                    <a:pt x="217" y="48"/>
                    <a:pt x="202" y="47"/>
                    <a:pt x="197" y="50"/>
                  </a:cubicBezTo>
                  <a:cubicBezTo>
                    <a:pt x="192" y="53"/>
                    <a:pt x="199" y="58"/>
                    <a:pt x="199" y="61"/>
                  </a:cubicBezTo>
                  <a:cubicBezTo>
                    <a:pt x="200" y="65"/>
                    <a:pt x="204" y="68"/>
                    <a:pt x="201" y="71"/>
                  </a:cubicBezTo>
                  <a:cubicBezTo>
                    <a:pt x="198" y="74"/>
                    <a:pt x="190" y="72"/>
                    <a:pt x="186" y="73"/>
                  </a:cubicBezTo>
                  <a:cubicBezTo>
                    <a:pt x="182" y="73"/>
                    <a:pt x="178" y="71"/>
                    <a:pt x="176" y="74"/>
                  </a:cubicBezTo>
                  <a:cubicBezTo>
                    <a:pt x="174" y="78"/>
                    <a:pt x="176" y="83"/>
                    <a:pt x="176" y="87"/>
                  </a:cubicBezTo>
                  <a:cubicBezTo>
                    <a:pt x="176" y="92"/>
                    <a:pt x="175" y="97"/>
                    <a:pt x="175" y="99"/>
                  </a:cubicBezTo>
                  <a:cubicBezTo>
                    <a:pt x="175" y="101"/>
                    <a:pt x="179" y="105"/>
                    <a:pt x="184" y="108"/>
                  </a:cubicBezTo>
                  <a:cubicBezTo>
                    <a:pt x="188" y="111"/>
                    <a:pt x="194" y="116"/>
                    <a:pt x="193" y="117"/>
                  </a:cubicBezTo>
                  <a:cubicBezTo>
                    <a:pt x="193" y="119"/>
                    <a:pt x="194" y="123"/>
                    <a:pt x="193" y="126"/>
                  </a:cubicBezTo>
                  <a:cubicBezTo>
                    <a:pt x="191" y="129"/>
                    <a:pt x="184" y="130"/>
                    <a:pt x="184" y="135"/>
                  </a:cubicBezTo>
                  <a:cubicBezTo>
                    <a:pt x="184" y="139"/>
                    <a:pt x="190" y="142"/>
                    <a:pt x="193" y="145"/>
                  </a:cubicBezTo>
                  <a:cubicBezTo>
                    <a:pt x="195" y="149"/>
                    <a:pt x="199" y="152"/>
                    <a:pt x="200" y="157"/>
                  </a:cubicBezTo>
                  <a:cubicBezTo>
                    <a:pt x="201" y="161"/>
                    <a:pt x="203" y="169"/>
                    <a:pt x="201" y="172"/>
                  </a:cubicBezTo>
                  <a:cubicBezTo>
                    <a:pt x="199" y="176"/>
                    <a:pt x="192" y="163"/>
                    <a:pt x="190" y="173"/>
                  </a:cubicBezTo>
                  <a:cubicBezTo>
                    <a:pt x="189" y="178"/>
                    <a:pt x="183" y="187"/>
                    <a:pt x="181" y="197"/>
                  </a:cubicBezTo>
                  <a:cubicBezTo>
                    <a:pt x="179" y="195"/>
                    <a:pt x="179" y="193"/>
                    <a:pt x="177" y="192"/>
                  </a:cubicBezTo>
                  <a:cubicBezTo>
                    <a:pt x="175" y="191"/>
                    <a:pt x="171" y="189"/>
                    <a:pt x="168" y="189"/>
                  </a:cubicBezTo>
                  <a:cubicBezTo>
                    <a:pt x="165" y="189"/>
                    <a:pt x="163" y="192"/>
                    <a:pt x="161" y="194"/>
                  </a:cubicBezTo>
                  <a:cubicBezTo>
                    <a:pt x="159" y="195"/>
                    <a:pt x="157" y="197"/>
                    <a:pt x="156" y="199"/>
                  </a:cubicBezTo>
                  <a:cubicBezTo>
                    <a:pt x="149" y="190"/>
                    <a:pt x="145" y="181"/>
                    <a:pt x="140" y="177"/>
                  </a:cubicBezTo>
                  <a:cubicBezTo>
                    <a:pt x="132" y="172"/>
                    <a:pt x="134" y="186"/>
                    <a:pt x="130" y="187"/>
                  </a:cubicBezTo>
                  <a:cubicBezTo>
                    <a:pt x="126" y="187"/>
                    <a:pt x="129" y="180"/>
                    <a:pt x="126" y="179"/>
                  </a:cubicBezTo>
                  <a:cubicBezTo>
                    <a:pt x="122" y="178"/>
                    <a:pt x="116" y="183"/>
                    <a:pt x="112" y="182"/>
                  </a:cubicBezTo>
                  <a:cubicBezTo>
                    <a:pt x="108" y="180"/>
                    <a:pt x="108" y="176"/>
                    <a:pt x="106" y="170"/>
                  </a:cubicBezTo>
                  <a:cubicBezTo>
                    <a:pt x="104" y="164"/>
                    <a:pt x="106" y="153"/>
                    <a:pt x="103" y="147"/>
                  </a:cubicBezTo>
                  <a:cubicBezTo>
                    <a:pt x="100" y="141"/>
                    <a:pt x="96" y="136"/>
                    <a:pt x="90" y="137"/>
                  </a:cubicBezTo>
                  <a:cubicBezTo>
                    <a:pt x="85" y="138"/>
                    <a:pt x="81" y="146"/>
                    <a:pt x="76" y="150"/>
                  </a:cubicBezTo>
                  <a:cubicBezTo>
                    <a:pt x="72" y="155"/>
                    <a:pt x="65" y="159"/>
                    <a:pt x="62" y="165"/>
                  </a:cubicBezTo>
                  <a:cubicBezTo>
                    <a:pt x="60" y="171"/>
                    <a:pt x="64" y="178"/>
                    <a:pt x="61" y="182"/>
                  </a:cubicBezTo>
                  <a:cubicBezTo>
                    <a:pt x="59" y="185"/>
                    <a:pt x="53" y="179"/>
                    <a:pt x="50" y="181"/>
                  </a:cubicBezTo>
                  <a:cubicBezTo>
                    <a:pt x="47" y="182"/>
                    <a:pt x="50" y="185"/>
                    <a:pt x="47" y="189"/>
                  </a:cubicBezTo>
                  <a:cubicBezTo>
                    <a:pt x="45" y="193"/>
                    <a:pt x="39" y="200"/>
                    <a:pt x="35" y="203"/>
                  </a:cubicBezTo>
                  <a:cubicBezTo>
                    <a:pt x="31" y="206"/>
                    <a:pt x="25" y="206"/>
                    <a:pt x="23" y="207"/>
                  </a:cubicBezTo>
                  <a:cubicBezTo>
                    <a:pt x="22" y="208"/>
                    <a:pt x="17" y="212"/>
                    <a:pt x="10" y="209"/>
                  </a:cubicBezTo>
                  <a:cubicBezTo>
                    <a:pt x="3" y="206"/>
                    <a:pt x="0" y="197"/>
                    <a:pt x="0" y="192"/>
                  </a:cubicBezTo>
                  <a:cubicBezTo>
                    <a:pt x="1" y="187"/>
                    <a:pt x="9" y="190"/>
                    <a:pt x="11" y="187"/>
                  </a:cubicBezTo>
                  <a:cubicBezTo>
                    <a:pt x="13" y="185"/>
                    <a:pt x="10" y="181"/>
                    <a:pt x="11" y="178"/>
                  </a:cubicBezTo>
                  <a:cubicBezTo>
                    <a:pt x="12" y="175"/>
                    <a:pt x="16" y="173"/>
                    <a:pt x="17" y="170"/>
                  </a:cubicBezTo>
                  <a:cubicBezTo>
                    <a:pt x="18" y="167"/>
                    <a:pt x="18" y="163"/>
                    <a:pt x="18" y="159"/>
                  </a:cubicBezTo>
                  <a:cubicBezTo>
                    <a:pt x="17" y="155"/>
                    <a:pt x="15" y="150"/>
                    <a:pt x="14" y="145"/>
                  </a:cubicBezTo>
                  <a:cubicBezTo>
                    <a:pt x="14" y="141"/>
                    <a:pt x="11" y="136"/>
                    <a:pt x="13" y="133"/>
                  </a:cubicBezTo>
                  <a:cubicBezTo>
                    <a:pt x="15" y="130"/>
                    <a:pt x="20" y="135"/>
                    <a:pt x="23" y="134"/>
                  </a:cubicBezTo>
                  <a:cubicBezTo>
                    <a:pt x="25" y="132"/>
                    <a:pt x="26" y="129"/>
                    <a:pt x="26" y="125"/>
                  </a:cubicBezTo>
                  <a:cubicBezTo>
                    <a:pt x="25" y="122"/>
                    <a:pt x="23" y="119"/>
                    <a:pt x="20" y="116"/>
                  </a:cubicBezTo>
                  <a:cubicBezTo>
                    <a:pt x="18" y="113"/>
                    <a:pt x="13" y="113"/>
                    <a:pt x="10" y="108"/>
                  </a:cubicBezTo>
                  <a:cubicBezTo>
                    <a:pt x="8" y="103"/>
                    <a:pt x="7" y="94"/>
                    <a:pt x="7" y="89"/>
                  </a:cubicBezTo>
                  <a:cubicBezTo>
                    <a:pt x="7" y="84"/>
                    <a:pt x="8" y="81"/>
                    <a:pt x="12" y="79"/>
                  </a:cubicBezTo>
                  <a:cubicBezTo>
                    <a:pt x="16" y="78"/>
                    <a:pt x="20" y="84"/>
                    <a:pt x="23" y="83"/>
                  </a:cubicBezTo>
                  <a:cubicBezTo>
                    <a:pt x="27" y="81"/>
                    <a:pt x="23" y="76"/>
                    <a:pt x="23" y="73"/>
                  </a:cubicBezTo>
                  <a:cubicBezTo>
                    <a:pt x="22" y="69"/>
                    <a:pt x="21" y="63"/>
                    <a:pt x="22" y="59"/>
                  </a:cubicBezTo>
                  <a:cubicBezTo>
                    <a:pt x="23" y="56"/>
                    <a:pt x="28" y="58"/>
                    <a:pt x="29" y="54"/>
                  </a:cubicBezTo>
                  <a:cubicBezTo>
                    <a:pt x="30" y="50"/>
                    <a:pt x="23" y="42"/>
                    <a:pt x="27" y="39"/>
                  </a:cubicBezTo>
                  <a:cubicBezTo>
                    <a:pt x="31" y="36"/>
                    <a:pt x="38" y="44"/>
                    <a:pt x="42" y="44"/>
                  </a:cubicBezTo>
                  <a:cubicBezTo>
                    <a:pt x="47" y="44"/>
                    <a:pt x="49" y="36"/>
                    <a:pt x="52" y="39"/>
                  </a:cubicBezTo>
                  <a:cubicBezTo>
                    <a:pt x="55" y="41"/>
                    <a:pt x="50" y="49"/>
                    <a:pt x="52" y="52"/>
                  </a:cubicBezTo>
                  <a:cubicBezTo>
                    <a:pt x="55" y="55"/>
                    <a:pt x="61" y="53"/>
                    <a:pt x="63" y="56"/>
                  </a:cubicBezTo>
                  <a:cubicBezTo>
                    <a:pt x="65" y="59"/>
                    <a:pt x="63" y="63"/>
                    <a:pt x="64" y="67"/>
                  </a:cubicBezTo>
                  <a:cubicBezTo>
                    <a:pt x="65" y="71"/>
                    <a:pt x="66" y="76"/>
                    <a:pt x="68" y="78"/>
                  </a:cubicBezTo>
                  <a:cubicBezTo>
                    <a:pt x="71" y="81"/>
                    <a:pt x="75" y="85"/>
                    <a:pt x="77" y="81"/>
                  </a:cubicBezTo>
                  <a:cubicBezTo>
                    <a:pt x="80" y="77"/>
                    <a:pt x="77" y="67"/>
                    <a:pt x="79" y="63"/>
                  </a:cubicBezTo>
                  <a:cubicBezTo>
                    <a:pt x="80" y="58"/>
                    <a:pt x="85" y="60"/>
                    <a:pt x="85" y="57"/>
                  </a:cubicBezTo>
                  <a:cubicBezTo>
                    <a:pt x="86" y="54"/>
                    <a:pt x="81" y="51"/>
                    <a:pt x="81" y="47"/>
                  </a:cubicBezTo>
                  <a:cubicBezTo>
                    <a:pt x="82" y="43"/>
                    <a:pt x="87" y="41"/>
                    <a:pt x="89" y="36"/>
                  </a:cubicBezTo>
                  <a:cubicBezTo>
                    <a:pt x="90" y="32"/>
                    <a:pt x="86" y="26"/>
                    <a:pt x="89" y="22"/>
                  </a:cubicBezTo>
                  <a:cubicBezTo>
                    <a:pt x="93" y="18"/>
                    <a:pt x="102" y="17"/>
                    <a:pt x="107" y="16"/>
                  </a:cubicBezTo>
                  <a:cubicBezTo>
                    <a:pt x="111" y="15"/>
                    <a:pt x="112" y="19"/>
                    <a:pt x="116" y="17"/>
                  </a:cubicBezTo>
                  <a:cubicBezTo>
                    <a:pt x="120" y="14"/>
                    <a:pt x="124" y="10"/>
                    <a:pt x="128" y="0"/>
                  </a:cubicBezTo>
                  <a:close/>
                  <a:moveTo>
                    <a:pt x="234" y="174"/>
                  </a:moveTo>
                  <a:cubicBezTo>
                    <a:pt x="234" y="174"/>
                    <a:pt x="234" y="174"/>
                    <a:pt x="234" y="174"/>
                  </a:cubicBezTo>
                  <a:cubicBezTo>
                    <a:pt x="234" y="174"/>
                    <a:pt x="234" y="174"/>
                    <a:pt x="234" y="174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  <a:moveTo>
                    <a:pt x="181" y="197"/>
                  </a:moveTo>
                  <a:cubicBezTo>
                    <a:pt x="181" y="197"/>
                    <a:pt x="181" y="197"/>
                    <a:pt x="181" y="197"/>
                  </a:cubicBezTo>
                  <a:cubicBezTo>
                    <a:pt x="181" y="197"/>
                    <a:pt x="181" y="197"/>
                    <a:pt x="181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7" name="Freeform 13"/>
            <p:cNvSpPr>
              <a:spLocks/>
            </p:cNvSpPr>
            <p:nvPr/>
          </p:nvSpPr>
          <p:spPr bwMode="auto">
            <a:xfrm rot="21439583">
              <a:off x="3027423" y="5063253"/>
              <a:ext cx="598067" cy="807167"/>
            </a:xfrm>
            <a:custGeom>
              <a:avLst/>
              <a:gdLst/>
              <a:ahLst/>
              <a:cxnLst>
                <a:cxn ang="0">
                  <a:pos x="58" y="170"/>
                </a:cxn>
                <a:cxn ang="0">
                  <a:pos x="61" y="162"/>
                </a:cxn>
                <a:cxn ang="0">
                  <a:pos x="57" y="159"/>
                </a:cxn>
                <a:cxn ang="0">
                  <a:pos x="55" y="151"/>
                </a:cxn>
                <a:cxn ang="0">
                  <a:pos x="49" y="151"/>
                </a:cxn>
                <a:cxn ang="0">
                  <a:pos x="46" y="150"/>
                </a:cxn>
                <a:cxn ang="0">
                  <a:pos x="36" y="143"/>
                </a:cxn>
                <a:cxn ang="0">
                  <a:pos x="28" y="135"/>
                </a:cxn>
                <a:cxn ang="0">
                  <a:pos x="20" y="141"/>
                </a:cxn>
                <a:cxn ang="0">
                  <a:pos x="16" y="128"/>
                </a:cxn>
                <a:cxn ang="0">
                  <a:pos x="12" y="116"/>
                </a:cxn>
                <a:cxn ang="0">
                  <a:pos x="2" y="107"/>
                </a:cxn>
                <a:cxn ang="0">
                  <a:pos x="16" y="107"/>
                </a:cxn>
                <a:cxn ang="0">
                  <a:pos x="12" y="98"/>
                </a:cxn>
                <a:cxn ang="0">
                  <a:pos x="16" y="89"/>
                </a:cxn>
                <a:cxn ang="0">
                  <a:pos x="28" y="91"/>
                </a:cxn>
                <a:cxn ang="0">
                  <a:pos x="31" y="79"/>
                </a:cxn>
                <a:cxn ang="0">
                  <a:pos x="31" y="66"/>
                </a:cxn>
                <a:cxn ang="0">
                  <a:pos x="43" y="63"/>
                </a:cxn>
                <a:cxn ang="0">
                  <a:pos x="34" y="54"/>
                </a:cxn>
                <a:cxn ang="0">
                  <a:pos x="35" y="45"/>
                </a:cxn>
                <a:cxn ang="0">
                  <a:pos x="50" y="50"/>
                </a:cxn>
                <a:cxn ang="0">
                  <a:pos x="53" y="40"/>
                </a:cxn>
                <a:cxn ang="0">
                  <a:pos x="48" y="31"/>
                </a:cxn>
                <a:cxn ang="0">
                  <a:pos x="51" y="19"/>
                </a:cxn>
                <a:cxn ang="0">
                  <a:pos x="43" y="12"/>
                </a:cxn>
                <a:cxn ang="0">
                  <a:pos x="46" y="4"/>
                </a:cxn>
                <a:cxn ang="0">
                  <a:pos x="50" y="2"/>
                </a:cxn>
                <a:cxn ang="0">
                  <a:pos x="91" y="3"/>
                </a:cxn>
                <a:cxn ang="0">
                  <a:pos x="95" y="9"/>
                </a:cxn>
                <a:cxn ang="0">
                  <a:pos x="107" y="9"/>
                </a:cxn>
                <a:cxn ang="0">
                  <a:pos x="103" y="14"/>
                </a:cxn>
                <a:cxn ang="0">
                  <a:pos x="105" y="20"/>
                </a:cxn>
                <a:cxn ang="0">
                  <a:pos x="97" y="21"/>
                </a:cxn>
                <a:cxn ang="0">
                  <a:pos x="87" y="26"/>
                </a:cxn>
                <a:cxn ang="0">
                  <a:pos x="88" y="34"/>
                </a:cxn>
                <a:cxn ang="0">
                  <a:pos x="97" y="34"/>
                </a:cxn>
                <a:cxn ang="0">
                  <a:pos x="98" y="41"/>
                </a:cxn>
                <a:cxn ang="0">
                  <a:pos x="105" y="44"/>
                </a:cxn>
                <a:cxn ang="0">
                  <a:pos x="107" y="55"/>
                </a:cxn>
                <a:cxn ang="0">
                  <a:pos x="104" y="62"/>
                </a:cxn>
                <a:cxn ang="0">
                  <a:pos x="100" y="63"/>
                </a:cxn>
                <a:cxn ang="0">
                  <a:pos x="101" y="73"/>
                </a:cxn>
                <a:cxn ang="0">
                  <a:pos x="97" y="77"/>
                </a:cxn>
                <a:cxn ang="0">
                  <a:pos x="82" y="80"/>
                </a:cxn>
                <a:cxn ang="0">
                  <a:pos x="81" y="86"/>
                </a:cxn>
                <a:cxn ang="0">
                  <a:pos x="91" y="89"/>
                </a:cxn>
                <a:cxn ang="0">
                  <a:pos x="94" y="94"/>
                </a:cxn>
                <a:cxn ang="0">
                  <a:pos x="87" y="95"/>
                </a:cxn>
                <a:cxn ang="0">
                  <a:pos x="85" y="103"/>
                </a:cxn>
                <a:cxn ang="0">
                  <a:pos x="77" y="106"/>
                </a:cxn>
                <a:cxn ang="0">
                  <a:pos x="77" y="115"/>
                </a:cxn>
                <a:cxn ang="0">
                  <a:pos x="85" y="115"/>
                </a:cxn>
                <a:cxn ang="0">
                  <a:pos x="91" y="119"/>
                </a:cxn>
                <a:cxn ang="0">
                  <a:pos x="90" y="126"/>
                </a:cxn>
                <a:cxn ang="0">
                  <a:pos x="83" y="130"/>
                </a:cxn>
                <a:cxn ang="0">
                  <a:pos x="77" y="138"/>
                </a:cxn>
                <a:cxn ang="0">
                  <a:pos x="76" y="148"/>
                </a:cxn>
                <a:cxn ang="0">
                  <a:pos x="65" y="147"/>
                </a:cxn>
                <a:cxn ang="0">
                  <a:pos x="62" y="151"/>
                </a:cxn>
                <a:cxn ang="0">
                  <a:pos x="66" y="154"/>
                </a:cxn>
                <a:cxn ang="0">
                  <a:pos x="69" y="160"/>
                </a:cxn>
                <a:cxn ang="0">
                  <a:pos x="58" y="170"/>
                </a:cxn>
              </a:cxnLst>
              <a:rect l="0" t="0" r="r" b="b"/>
              <a:pathLst>
                <a:path w="107" h="170">
                  <a:moveTo>
                    <a:pt x="58" y="170"/>
                  </a:moveTo>
                  <a:cubicBezTo>
                    <a:pt x="60" y="167"/>
                    <a:pt x="61" y="164"/>
                    <a:pt x="61" y="162"/>
                  </a:cubicBezTo>
                  <a:cubicBezTo>
                    <a:pt x="61" y="159"/>
                    <a:pt x="58" y="161"/>
                    <a:pt x="57" y="159"/>
                  </a:cubicBezTo>
                  <a:cubicBezTo>
                    <a:pt x="56" y="157"/>
                    <a:pt x="57" y="153"/>
                    <a:pt x="55" y="151"/>
                  </a:cubicBezTo>
                  <a:cubicBezTo>
                    <a:pt x="54" y="149"/>
                    <a:pt x="50" y="150"/>
                    <a:pt x="49" y="151"/>
                  </a:cubicBezTo>
                  <a:cubicBezTo>
                    <a:pt x="49" y="153"/>
                    <a:pt x="47" y="151"/>
                    <a:pt x="46" y="150"/>
                  </a:cubicBezTo>
                  <a:cubicBezTo>
                    <a:pt x="43" y="148"/>
                    <a:pt x="40" y="146"/>
                    <a:pt x="36" y="143"/>
                  </a:cubicBezTo>
                  <a:cubicBezTo>
                    <a:pt x="32" y="141"/>
                    <a:pt x="31" y="135"/>
                    <a:pt x="28" y="135"/>
                  </a:cubicBezTo>
                  <a:cubicBezTo>
                    <a:pt x="24" y="134"/>
                    <a:pt x="23" y="143"/>
                    <a:pt x="20" y="141"/>
                  </a:cubicBezTo>
                  <a:cubicBezTo>
                    <a:pt x="17" y="139"/>
                    <a:pt x="18" y="132"/>
                    <a:pt x="16" y="128"/>
                  </a:cubicBezTo>
                  <a:cubicBezTo>
                    <a:pt x="15" y="124"/>
                    <a:pt x="15" y="120"/>
                    <a:pt x="12" y="116"/>
                  </a:cubicBezTo>
                  <a:cubicBezTo>
                    <a:pt x="10" y="112"/>
                    <a:pt x="0" y="111"/>
                    <a:pt x="2" y="107"/>
                  </a:cubicBezTo>
                  <a:cubicBezTo>
                    <a:pt x="4" y="102"/>
                    <a:pt x="13" y="109"/>
                    <a:pt x="16" y="107"/>
                  </a:cubicBezTo>
                  <a:cubicBezTo>
                    <a:pt x="20" y="104"/>
                    <a:pt x="12" y="101"/>
                    <a:pt x="12" y="98"/>
                  </a:cubicBezTo>
                  <a:cubicBezTo>
                    <a:pt x="12" y="95"/>
                    <a:pt x="12" y="90"/>
                    <a:pt x="16" y="89"/>
                  </a:cubicBezTo>
                  <a:cubicBezTo>
                    <a:pt x="19" y="87"/>
                    <a:pt x="25" y="93"/>
                    <a:pt x="28" y="91"/>
                  </a:cubicBezTo>
                  <a:cubicBezTo>
                    <a:pt x="32" y="89"/>
                    <a:pt x="31" y="83"/>
                    <a:pt x="31" y="79"/>
                  </a:cubicBezTo>
                  <a:cubicBezTo>
                    <a:pt x="31" y="75"/>
                    <a:pt x="29" y="70"/>
                    <a:pt x="31" y="66"/>
                  </a:cubicBezTo>
                  <a:cubicBezTo>
                    <a:pt x="33" y="63"/>
                    <a:pt x="42" y="67"/>
                    <a:pt x="43" y="63"/>
                  </a:cubicBezTo>
                  <a:cubicBezTo>
                    <a:pt x="44" y="59"/>
                    <a:pt x="35" y="58"/>
                    <a:pt x="34" y="54"/>
                  </a:cubicBezTo>
                  <a:cubicBezTo>
                    <a:pt x="32" y="51"/>
                    <a:pt x="31" y="46"/>
                    <a:pt x="35" y="45"/>
                  </a:cubicBezTo>
                  <a:cubicBezTo>
                    <a:pt x="39" y="44"/>
                    <a:pt x="46" y="51"/>
                    <a:pt x="50" y="50"/>
                  </a:cubicBezTo>
                  <a:cubicBezTo>
                    <a:pt x="54" y="49"/>
                    <a:pt x="54" y="43"/>
                    <a:pt x="53" y="40"/>
                  </a:cubicBezTo>
                  <a:cubicBezTo>
                    <a:pt x="53" y="36"/>
                    <a:pt x="49" y="35"/>
                    <a:pt x="48" y="31"/>
                  </a:cubicBezTo>
                  <a:cubicBezTo>
                    <a:pt x="48" y="28"/>
                    <a:pt x="52" y="23"/>
                    <a:pt x="51" y="19"/>
                  </a:cubicBezTo>
                  <a:cubicBezTo>
                    <a:pt x="50" y="16"/>
                    <a:pt x="44" y="16"/>
                    <a:pt x="43" y="12"/>
                  </a:cubicBezTo>
                  <a:cubicBezTo>
                    <a:pt x="42" y="9"/>
                    <a:pt x="44" y="6"/>
                    <a:pt x="46" y="4"/>
                  </a:cubicBezTo>
                  <a:cubicBezTo>
                    <a:pt x="46" y="3"/>
                    <a:pt x="48" y="2"/>
                    <a:pt x="50" y="2"/>
                  </a:cubicBezTo>
                  <a:cubicBezTo>
                    <a:pt x="50" y="5"/>
                    <a:pt x="90" y="0"/>
                    <a:pt x="91" y="3"/>
                  </a:cubicBezTo>
                  <a:cubicBezTo>
                    <a:pt x="91" y="6"/>
                    <a:pt x="94" y="4"/>
                    <a:pt x="95" y="9"/>
                  </a:cubicBezTo>
                  <a:cubicBezTo>
                    <a:pt x="96" y="13"/>
                    <a:pt x="104" y="5"/>
                    <a:pt x="107" y="9"/>
                  </a:cubicBezTo>
                  <a:cubicBezTo>
                    <a:pt x="105" y="11"/>
                    <a:pt x="103" y="12"/>
                    <a:pt x="103" y="14"/>
                  </a:cubicBezTo>
                  <a:cubicBezTo>
                    <a:pt x="103" y="18"/>
                    <a:pt x="106" y="18"/>
                    <a:pt x="105" y="20"/>
                  </a:cubicBezTo>
                  <a:cubicBezTo>
                    <a:pt x="103" y="22"/>
                    <a:pt x="100" y="20"/>
                    <a:pt x="97" y="21"/>
                  </a:cubicBezTo>
                  <a:cubicBezTo>
                    <a:pt x="94" y="22"/>
                    <a:pt x="89" y="23"/>
                    <a:pt x="87" y="26"/>
                  </a:cubicBezTo>
                  <a:cubicBezTo>
                    <a:pt x="85" y="28"/>
                    <a:pt x="86" y="32"/>
                    <a:pt x="88" y="34"/>
                  </a:cubicBezTo>
                  <a:cubicBezTo>
                    <a:pt x="90" y="36"/>
                    <a:pt x="95" y="33"/>
                    <a:pt x="97" y="34"/>
                  </a:cubicBezTo>
                  <a:cubicBezTo>
                    <a:pt x="99" y="36"/>
                    <a:pt x="97" y="39"/>
                    <a:pt x="98" y="41"/>
                  </a:cubicBezTo>
                  <a:cubicBezTo>
                    <a:pt x="100" y="43"/>
                    <a:pt x="104" y="41"/>
                    <a:pt x="105" y="44"/>
                  </a:cubicBezTo>
                  <a:cubicBezTo>
                    <a:pt x="107" y="47"/>
                    <a:pt x="107" y="52"/>
                    <a:pt x="107" y="55"/>
                  </a:cubicBezTo>
                  <a:cubicBezTo>
                    <a:pt x="107" y="58"/>
                    <a:pt x="105" y="60"/>
                    <a:pt x="104" y="62"/>
                  </a:cubicBezTo>
                  <a:cubicBezTo>
                    <a:pt x="103" y="63"/>
                    <a:pt x="101" y="60"/>
                    <a:pt x="100" y="63"/>
                  </a:cubicBezTo>
                  <a:cubicBezTo>
                    <a:pt x="99" y="65"/>
                    <a:pt x="101" y="70"/>
                    <a:pt x="101" y="73"/>
                  </a:cubicBezTo>
                  <a:cubicBezTo>
                    <a:pt x="100" y="75"/>
                    <a:pt x="100" y="76"/>
                    <a:pt x="97" y="77"/>
                  </a:cubicBezTo>
                  <a:cubicBezTo>
                    <a:pt x="94" y="78"/>
                    <a:pt x="85" y="78"/>
                    <a:pt x="82" y="80"/>
                  </a:cubicBezTo>
                  <a:cubicBezTo>
                    <a:pt x="79" y="82"/>
                    <a:pt x="79" y="84"/>
                    <a:pt x="81" y="86"/>
                  </a:cubicBezTo>
                  <a:cubicBezTo>
                    <a:pt x="83" y="88"/>
                    <a:pt x="89" y="87"/>
                    <a:pt x="91" y="89"/>
                  </a:cubicBezTo>
                  <a:cubicBezTo>
                    <a:pt x="94" y="90"/>
                    <a:pt x="95" y="92"/>
                    <a:pt x="94" y="94"/>
                  </a:cubicBezTo>
                  <a:cubicBezTo>
                    <a:pt x="92" y="95"/>
                    <a:pt x="88" y="93"/>
                    <a:pt x="87" y="95"/>
                  </a:cubicBezTo>
                  <a:cubicBezTo>
                    <a:pt x="85" y="97"/>
                    <a:pt x="87" y="101"/>
                    <a:pt x="85" y="103"/>
                  </a:cubicBezTo>
                  <a:cubicBezTo>
                    <a:pt x="83" y="105"/>
                    <a:pt x="78" y="103"/>
                    <a:pt x="77" y="106"/>
                  </a:cubicBezTo>
                  <a:cubicBezTo>
                    <a:pt x="75" y="108"/>
                    <a:pt x="76" y="113"/>
                    <a:pt x="77" y="115"/>
                  </a:cubicBezTo>
                  <a:cubicBezTo>
                    <a:pt x="79" y="117"/>
                    <a:pt x="83" y="114"/>
                    <a:pt x="85" y="115"/>
                  </a:cubicBezTo>
                  <a:cubicBezTo>
                    <a:pt x="88" y="116"/>
                    <a:pt x="90" y="117"/>
                    <a:pt x="91" y="119"/>
                  </a:cubicBezTo>
                  <a:cubicBezTo>
                    <a:pt x="92" y="121"/>
                    <a:pt x="92" y="124"/>
                    <a:pt x="90" y="126"/>
                  </a:cubicBezTo>
                  <a:cubicBezTo>
                    <a:pt x="89" y="128"/>
                    <a:pt x="85" y="128"/>
                    <a:pt x="83" y="130"/>
                  </a:cubicBezTo>
                  <a:cubicBezTo>
                    <a:pt x="81" y="132"/>
                    <a:pt x="78" y="135"/>
                    <a:pt x="77" y="138"/>
                  </a:cubicBezTo>
                  <a:cubicBezTo>
                    <a:pt x="76" y="141"/>
                    <a:pt x="79" y="146"/>
                    <a:pt x="76" y="148"/>
                  </a:cubicBezTo>
                  <a:cubicBezTo>
                    <a:pt x="73" y="150"/>
                    <a:pt x="68" y="147"/>
                    <a:pt x="65" y="147"/>
                  </a:cubicBezTo>
                  <a:cubicBezTo>
                    <a:pt x="62" y="148"/>
                    <a:pt x="62" y="149"/>
                    <a:pt x="62" y="151"/>
                  </a:cubicBezTo>
                  <a:cubicBezTo>
                    <a:pt x="62" y="153"/>
                    <a:pt x="64" y="153"/>
                    <a:pt x="66" y="154"/>
                  </a:cubicBezTo>
                  <a:cubicBezTo>
                    <a:pt x="67" y="156"/>
                    <a:pt x="73" y="157"/>
                    <a:pt x="69" y="160"/>
                  </a:cubicBezTo>
                  <a:cubicBezTo>
                    <a:pt x="67" y="163"/>
                    <a:pt x="64" y="167"/>
                    <a:pt x="58" y="17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8" name="Freeform 14"/>
            <p:cNvSpPr>
              <a:spLocks/>
            </p:cNvSpPr>
            <p:nvPr/>
          </p:nvSpPr>
          <p:spPr bwMode="auto">
            <a:xfrm rot="21439583">
              <a:off x="3356636" y="5584269"/>
              <a:ext cx="720080" cy="480213"/>
            </a:xfrm>
            <a:custGeom>
              <a:avLst/>
              <a:gdLst/>
              <a:ahLst/>
              <a:cxnLst>
                <a:cxn ang="0">
                  <a:pos x="46" y="101"/>
                </a:cxn>
                <a:cxn ang="0">
                  <a:pos x="41" y="97"/>
                </a:cxn>
                <a:cxn ang="0">
                  <a:pos x="35" y="93"/>
                </a:cxn>
                <a:cxn ang="0">
                  <a:pos x="28" y="92"/>
                </a:cxn>
                <a:cxn ang="0">
                  <a:pos x="26" y="87"/>
                </a:cxn>
                <a:cxn ang="0">
                  <a:pos x="19" y="80"/>
                </a:cxn>
                <a:cxn ang="0">
                  <a:pos x="10" y="78"/>
                </a:cxn>
                <a:cxn ang="0">
                  <a:pos x="10" y="73"/>
                </a:cxn>
                <a:cxn ang="0">
                  <a:pos x="4" y="70"/>
                </a:cxn>
                <a:cxn ang="0">
                  <a:pos x="0" y="61"/>
                </a:cxn>
                <a:cxn ang="0">
                  <a:pos x="1" y="57"/>
                </a:cxn>
                <a:cxn ang="0">
                  <a:pos x="10" y="49"/>
                </a:cxn>
                <a:cxn ang="0">
                  <a:pos x="19" y="49"/>
                </a:cxn>
                <a:cxn ang="0">
                  <a:pos x="35" y="49"/>
                </a:cxn>
                <a:cxn ang="0">
                  <a:pos x="36" y="43"/>
                </a:cxn>
                <a:cxn ang="0">
                  <a:pos x="44" y="43"/>
                </a:cxn>
                <a:cxn ang="0">
                  <a:pos x="50" y="39"/>
                </a:cxn>
                <a:cxn ang="0">
                  <a:pos x="57" y="32"/>
                </a:cxn>
                <a:cxn ang="0">
                  <a:pos x="66" y="37"/>
                </a:cxn>
                <a:cxn ang="0">
                  <a:pos x="66" y="31"/>
                </a:cxn>
                <a:cxn ang="0">
                  <a:pos x="74" y="31"/>
                </a:cxn>
                <a:cxn ang="0">
                  <a:pos x="76" y="25"/>
                </a:cxn>
                <a:cxn ang="0">
                  <a:pos x="84" y="24"/>
                </a:cxn>
                <a:cxn ang="0">
                  <a:pos x="87" y="17"/>
                </a:cxn>
                <a:cxn ang="0">
                  <a:pos x="93" y="15"/>
                </a:cxn>
                <a:cxn ang="0">
                  <a:pos x="101" y="9"/>
                </a:cxn>
                <a:cxn ang="0">
                  <a:pos x="109" y="5"/>
                </a:cxn>
                <a:cxn ang="0">
                  <a:pos x="109" y="0"/>
                </a:cxn>
                <a:cxn ang="0">
                  <a:pos x="114" y="9"/>
                </a:cxn>
                <a:cxn ang="0">
                  <a:pos x="120" y="9"/>
                </a:cxn>
                <a:cxn ang="0">
                  <a:pos x="123" y="13"/>
                </a:cxn>
                <a:cxn ang="0">
                  <a:pos x="118" y="17"/>
                </a:cxn>
                <a:cxn ang="0">
                  <a:pos x="122" y="20"/>
                </a:cxn>
                <a:cxn ang="0">
                  <a:pos x="127" y="22"/>
                </a:cxn>
                <a:cxn ang="0">
                  <a:pos x="128" y="28"/>
                </a:cxn>
                <a:cxn ang="0">
                  <a:pos x="126" y="36"/>
                </a:cxn>
                <a:cxn ang="0">
                  <a:pos x="119" y="38"/>
                </a:cxn>
                <a:cxn ang="0">
                  <a:pos x="119" y="46"/>
                </a:cxn>
                <a:cxn ang="0">
                  <a:pos x="112" y="43"/>
                </a:cxn>
                <a:cxn ang="0">
                  <a:pos x="110" y="49"/>
                </a:cxn>
                <a:cxn ang="0">
                  <a:pos x="97" y="48"/>
                </a:cxn>
                <a:cxn ang="0">
                  <a:pos x="99" y="59"/>
                </a:cxn>
                <a:cxn ang="0">
                  <a:pos x="87" y="58"/>
                </a:cxn>
                <a:cxn ang="0">
                  <a:pos x="88" y="73"/>
                </a:cxn>
                <a:cxn ang="0">
                  <a:pos x="78" y="72"/>
                </a:cxn>
                <a:cxn ang="0">
                  <a:pos x="66" y="70"/>
                </a:cxn>
                <a:cxn ang="0">
                  <a:pos x="59" y="72"/>
                </a:cxn>
                <a:cxn ang="0">
                  <a:pos x="49" y="80"/>
                </a:cxn>
                <a:cxn ang="0">
                  <a:pos x="42" y="86"/>
                </a:cxn>
                <a:cxn ang="0">
                  <a:pos x="46" y="101"/>
                </a:cxn>
              </a:cxnLst>
              <a:rect l="0" t="0" r="r" b="b"/>
              <a:pathLst>
                <a:path w="129" h="101">
                  <a:moveTo>
                    <a:pt x="46" y="101"/>
                  </a:moveTo>
                  <a:cubicBezTo>
                    <a:pt x="44" y="99"/>
                    <a:pt x="42" y="98"/>
                    <a:pt x="41" y="97"/>
                  </a:cubicBezTo>
                  <a:cubicBezTo>
                    <a:pt x="38" y="95"/>
                    <a:pt x="37" y="94"/>
                    <a:pt x="35" y="93"/>
                  </a:cubicBezTo>
                  <a:cubicBezTo>
                    <a:pt x="32" y="92"/>
                    <a:pt x="29" y="93"/>
                    <a:pt x="28" y="92"/>
                  </a:cubicBezTo>
                  <a:cubicBezTo>
                    <a:pt x="26" y="91"/>
                    <a:pt x="28" y="89"/>
                    <a:pt x="26" y="87"/>
                  </a:cubicBezTo>
                  <a:cubicBezTo>
                    <a:pt x="25" y="85"/>
                    <a:pt x="21" y="82"/>
                    <a:pt x="19" y="80"/>
                  </a:cubicBezTo>
                  <a:cubicBezTo>
                    <a:pt x="16" y="79"/>
                    <a:pt x="12" y="79"/>
                    <a:pt x="10" y="78"/>
                  </a:cubicBezTo>
                  <a:cubicBezTo>
                    <a:pt x="9" y="76"/>
                    <a:pt x="12" y="74"/>
                    <a:pt x="10" y="73"/>
                  </a:cubicBezTo>
                  <a:cubicBezTo>
                    <a:pt x="9" y="71"/>
                    <a:pt x="6" y="72"/>
                    <a:pt x="4" y="70"/>
                  </a:cubicBezTo>
                  <a:cubicBezTo>
                    <a:pt x="3" y="68"/>
                    <a:pt x="0" y="65"/>
                    <a:pt x="0" y="61"/>
                  </a:cubicBezTo>
                  <a:cubicBezTo>
                    <a:pt x="0" y="60"/>
                    <a:pt x="1" y="58"/>
                    <a:pt x="1" y="57"/>
                  </a:cubicBezTo>
                  <a:cubicBezTo>
                    <a:pt x="5" y="54"/>
                    <a:pt x="8" y="51"/>
                    <a:pt x="10" y="49"/>
                  </a:cubicBezTo>
                  <a:cubicBezTo>
                    <a:pt x="13" y="49"/>
                    <a:pt x="16" y="49"/>
                    <a:pt x="19" y="49"/>
                  </a:cubicBezTo>
                  <a:cubicBezTo>
                    <a:pt x="24" y="49"/>
                    <a:pt x="31" y="51"/>
                    <a:pt x="35" y="49"/>
                  </a:cubicBezTo>
                  <a:cubicBezTo>
                    <a:pt x="38" y="48"/>
                    <a:pt x="34" y="44"/>
                    <a:pt x="36" y="43"/>
                  </a:cubicBezTo>
                  <a:cubicBezTo>
                    <a:pt x="38" y="42"/>
                    <a:pt x="42" y="44"/>
                    <a:pt x="44" y="43"/>
                  </a:cubicBezTo>
                  <a:cubicBezTo>
                    <a:pt x="47" y="43"/>
                    <a:pt x="48" y="41"/>
                    <a:pt x="50" y="39"/>
                  </a:cubicBezTo>
                  <a:cubicBezTo>
                    <a:pt x="52" y="37"/>
                    <a:pt x="54" y="32"/>
                    <a:pt x="57" y="32"/>
                  </a:cubicBezTo>
                  <a:cubicBezTo>
                    <a:pt x="60" y="32"/>
                    <a:pt x="63" y="38"/>
                    <a:pt x="66" y="37"/>
                  </a:cubicBezTo>
                  <a:cubicBezTo>
                    <a:pt x="68" y="37"/>
                    <a:pt x="64" y="32"/>
                    <a:pt x="66" y="31"/>
                  </a:cubicBezTo>
                  <a:cubicBezTo>
                    <a:pt x="68" y="29"/>
                    <a:pt x="72" y="33"/>
                    <a:pt x="74" y="31"/>
                  </a:cubicBezTo>
                  <a:cubicBezTo>
                    <a:pt x="76" y="30"/>
                    <a:pt x="74" y="26"/>
                    <a:pt x="76" y="25"/>
                  </a:cubicBezTo>
                  <a:cubicBezTo>
                    <a:pt x="78" y="23"/>
                    <a:pt x="81" y="25"/>
                    <a:pt x="84" y="24"/>
                  </a:cubicBezTo>
                  <a:cubicBezTo>
                    <a:pt x="86" y="22"/>
                    <a:pt x="86" y="19"/>
                    <a:pt x="87" y="17"/>
                  </a:cubicBezTo>
                  <a:cubicBezTo>
                    <a:pt x="89" y="16"/>
                    <a:pt x="91" y="17"/>
                    <a:pt x="93" y="15"/>
                  </a:cubicBezTo>
                  <a:cubicBezTo>
                    <a:pt x="96" y="14"/>
                    <a:pt x="98" y="11"/>
                    <a:pt x="101" y="9"/>
                  </a:cubicBezTo>
                  <a:cubicBezTo>
                    <a:pt x="103" y="7"/>
                    <a:pt x="107" y="7"/>
                    <a:pt x="109" y="5"/>
                  </a:cubicBezTo>
                  <a:cubicBezTo>
                    <a:pt x="110" y="4"/>
                    <a:pt x="109" y="2"/>
                    <a:pt x="109" y="0"/>
                  </a:cubicBezTo>
                  <a:cubicBezTo>
                    <a:pt x="111" y="4"/>
                    <a:pt x="112" y="8"/>
                    <a:pt x="114" y="9"/>
                  </a:cubicBezTo>
                  <a:cubicBezTo>
                    <a:pt x="118" y="12"/>
                    <a:pt x="118" y="9"/>
                    <a:pt x="120" y="9"/>
                  </a:cubicBezTo>
                  <a:cubicBezTo>
                    <a:pt x="121" y="10"/>
                    <a:pt x="123" y="11"/>
                    <a:pt x="123" y="13"/>
                  </a:cubicBezTo>
                  <a:cubicBezTo>
                    <a:pt x="122" y="14"/>
                    <a:pt x="118" y="15"/>
                    <a:pt x="118" y="17"/>
                  </a:cubicBezTo>
                  <a:cubicBezTo>
                    <a:pt x="118" y="19"/>
                    <a:pt x="120" y="19"/>
                    <a:pt x="122" y="20"/>
                  </a:cubicBezTo>
                  <a:cubicBezTo>
                    <a:pt x="123" y="21"/>
                    <a:pt x="126" y="21"/>
                    <a:pt x="127" y="22"/>
                  </a:cubicBezTo>
                  <a:cubicBezTo>
                    <a:pt x="128" y="24"/>
                    <a:pt x="129" y="26"/>
                    <a:pt x="128" y="28"/>
                  </a:cubicBezTo>
                  <a:cubicBezTo>
                    <a:pt x="128" y="30"/>
                    <a:pt x="128" y="34"/>
                    <a:pt x="126" y="36"/>
                  </a:cubicBezTo>
                  <a:cubicBezTo>
                    <a:pt x="124" y="38"/>
                    <a:pt x="120" y="36"/>
                    <a:pt x="119" y="38"/>
                  </a:cubicBezTo>
                  <a:cubicBezTo>
                    <a:pt x="118" y="40"/>
                    <a:pt x="121" y="44"/>
                    <a:pt x="119" y="46"/>
                  </a:cubicBezTo>
                  <a:cubicBezTo>
                    <a:pt x="117" y="47"/>
                    <a:pt x="114" y="43"/>
                    <a:pt x="112" y="43"/>
                  </a:cubicBezTo>
                  <a:cubicBezTo>
                    <a:pt x="110" y="44"/>
                    <a:pt x="113" y="48"/>
                    <a:pt x="110" y="49"/>
                  </a:cubicBezTo>
                  <a:cubicBezTo>
                    <a:pt x="107" y="49"/>
                    <a:pt x="100" y="45"/>
                    <a:pt x="97" y="48"/>
                  </a:cubicBezTo>
                  <a:cubicBezTo>
                    <a:pt x="94" y="50"/>
                    <a:pt x="102" y="56"/>
                    <a:pt x="99" y="59"/>
                  </a:cubicBezTo>
                  <a:cubicBezTo>
                    <a:pt x="96" y="62"/>
                    <a:pt x="90" y="55"/>
                    <a:pt x="87" y="58"/>
                  </a:cubicBezTo>
                  <a:cubicBezTo>
                    <a:pt x="84" y="62"/>
                    <a:pt x="90" y="69"/>
                    <a:pt x="88" y="73"/>
                  </a:cubicBezTo>
                  <a:cubicBezTo>
                    <a:pt x="86" y="76"/>
                    <a:pt x="82" y="72"/>
                    <a:pt x="78" y="72"/>
                  </a:cubicBezTo>
                  <a:cubicBezTo>
                    <a:pt x="75" y="72"/>
                    <a:pt x="69" y="70"/>
                    <a:pt x="66" y="70"/>
                  </a:cubicBezTo>
                  <a:cubicBezTo>
                    <a:pt x="62" y="70"/>
                    <a:pt x="62" y="70"/>
                    <a:pt x="59" y="72"/>
                  </a:cubicBezTo>
                  <a:cubicBezTo>
                    <a:pt x="56" y="74"/>
                    <a:pt x="52" y="77"/>
                    <a:pt x="49" y="80"/>
                  </a:cubicBezTo>
                  <a:cubicBezTo>
                    <a:pt x="46" y="82"/>
                    <a:pt x="43" y="80"/>
                    <a:pt x="42" y="86"/>
                  </a:cubicBezTo>
                  <a:cubicBezTo>
                    <a:pt x="41" y="89"/>
                    <a:pt x="44" y="95"/>
                    <a:pt x="46" y="10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89" name="Freeform 15"/>
            <p:cNvSpPr>
              <a:spLocks/>
            </p:cNvSpPr>
            <p:nvPr/>
          </p:nvSpPr>
          <p:spPr bwMode="auto">
            <a:xfrm rot="21439583">
              <a:off x="3597638" y="5802537"/>
              <a:ext cx="702080" cy="461482"/>
            </a:xfrm>
            <a:custGeom>
              <a:avLst/>
              <a:gdLst/>
              <a:ahLst/>
              <a:cxnLst>
                <a:cxn ang="0">
                  <a:pos x="57" y="94"/>
                </a:cxn>
                <a:cxn ang="0">
                  <a:pos x="53" y="91"/>
                </a:cxn>
                <a:cxn ang="0">
                  <a:pos x="49" y="96"/>
                </a:cxn>
                <a:cxn ang="0">
                  <a:pos x="42" y="95"/>
                </a:cxn>
                <a:cxn ang="0">
                  <a:pos x="41" y="85"/>
                </a:cxn>
                <a:cxn ang="0">
                  <a:pos x="32" y="81"/>
                </a:cxn>
                <a:cxn ang="0">
                  <a:pos x="28" y="73"/>
                </a:cxn>
                <a:cxn ang="0">
                  <a:pos x="18" y="65"/>
                </a:cxn>
                <a:cxn ang="0">
                  <a:pos x="14" y="59"/>
                </a:cxn>
                <a:cxn ang="0">
                  <a:pos x="2" y="49"/>
                </a:cxn>
                <a:cxn ang="0">
                  <a:pos x="5" y="52"/>
                </a:cxn>
                <a:cxn ang="0">
                  <a:pos x="1" y="37"/>
                </a:cxn>
                <a:cxn ang="0">
                  <a:pos x="8" y="31"/>
                </a:cxn>
                <a:cxn ang="0">
                  <a:pos x="18" y="23"/>
                </a:cxn>
                <a:cxn ang="0">
                  <a:pos x="25" y="21"/>
                </a:cxn>
                <a:cxn ang="0">
                  <a:pos x="37" y="23"/>
                </a:cxn>
                <a:cxn ang="0">
                  <a:pos x="47" y="24"/>
                </a:cxn>
                <a:cxn ang="0">
                  <a:pos x="46" y="9"/>
                </a:cxn>
                <a:cxn ang="0">
                  <a:pos x="58" y="10"/>
                </a:cxn>
                <a:cxn ang="0">
                  <a:pos x="68" y="15"/>
                </a:cxn>
                <a:cxn ang="0">
                  <a:pos x="76" y="26"/>
                </a:cxn>
                <a:cxn ang="0">
                  <a:pos x="87" y="25"/>
                </a:cxn>
                <a:cxn ang="0">
                  <a:pos x="93" y="16"/>
                </a:cxn>
                <a:cxn ang="0">
                  <a:pos x="96" y="5"/>
                </a:cxn>
                <a:cxn ang="0">
                  <a:pos x="106" y="9"/>
                </a:cxn>
                <a:cxn ang="0">
                  <a:pos x="110" y="3"/>
                </a:cxn>
                <a:cxn ang="0">
                  <a:pos x="123" y="0"/>
                </a:cxn>
                <a:cxn ang="0">
                  <a:pos x="125" y="6"/>
                </a:cxn>
                <a:cxn ang="0">
                  <a:pos x="120" y="11"/>
                </a:cxn>
                <a:cxn ang="0">
                  <a:pos x="123" y="32"/>
                </a:cxn>
                <a:cxn ang="0">
                  <a:pos x="116" y="39"/>
                </a:cxn>
                <a:cxn ang="0">
                  <a:pos x="107" y="39"/>
                </a:cxn>
                <a:cxn ang="0">
                  <a:pos x="101" y="45"/>
                </a:cxn>
                <a:cxn ang="0">
                  <a:pos x="99" y="56"/>
                </a:cxn>
                <a:cxn ang="0">
                  <a:pos x="93" y="56"/>
                </a:cxn>
                <a:cxn ang="0">
                  <a:pos x="94" y="66"/>
                </a:cxn>
                <a:cxn ang="0">
                  <a:pos x="88" y="68"/>
                </a:cxn>
                <a:cxn ang="0">
                  <a:pos x="86" y="80"/>
                </a:cxn>
                <a:cxn ang="0">
                  <a:pos x="72" y="85"/>
                </a:cxn>
                <a:cxn ang="0">
                  <a:pos x="70" y="91"/>
                </a:cxn>
                <a:cxn ang="0">
                  <a:pos x="57" y="94"/>
                </a:cxn>
              </a:cxnLst>
              <a:rect l="0" t="0" r="r" b="b"/>
              <a:pathLst>
                <a:path w="126" h="97">
                  <a:moveTo>
                    <a:pt x="57" y="94"/>
                  </a:moveTo>
                  <a:cubicBezTo>
                    <a:pt x="54" y="90"/>
                    <a:pt x="55" y="91"/>
                    <a:pt x="53" y="91"/>
                  </a:cubicBezTo>
                  <a:cubicBezTo>
                    <a:pt x="51" y="92"/>
                    <a:pt x="51" y="95"/>
                    <a:pt x="49" y="96"/>
                  </a:cubicBezTo>
                  <a:cubicBezTo>
                    <a:pt x="46" y="97"/>
                    <a:pt x="43" y="97"/>
                    <a:pt x="42" y="95"/>
                  </a:cubicBezTo>
                  <a:cubicBezTo>
                    <a:pt x="40" y="93"/>
                    <a:pt x="43" y="88"/>
                    <a:pt x="41" y="85"/>
                  </a:cubicBezTo>
                  <a:cubicBezTo>
                    <a:pt x="39" y="82"/>
                    <a:pt x="35" y="83"/>
                    <a:pt x="32" y="81"/>
                  </a:cubicBezTo>
                  <a:cubicBezTo>
                    <a:pt x="30" y="79"/>
                    <a:pt x="30" y="76"/>
                    <a:pt x="28" y="73"/>
                  </a:cubicBezTo>
                  <a:cubicBezTo>
                    <a:pt x="25" y="71"/>
                    <a:pt x="20" y="68"/>
                    <a:pt x="18" y="65"/>
                  </a:cubicBezTo>
                  <a:cubicBezTo>
                    <a:pt x="16" y="63"/>
                    <a:pt x="17" y="62"/>
                    <a:pt x="14" y="59"/>
                  </a:cubicBezTo>
                  <a:cubicBezTo>
                    <a:pt x="12" y="57"/>
                    <a:pt x="5" y="52"/>
                    <a:pt x="2" y="49"/>
                  </a:cubicBezTo>
                  <a:cubicBezTo>
                    <a:pt x="3" y="50"/>
                    <a:pt x="4" y="51"/>
                    <a:pt x="5" y="52"/>
                  </a:cubicBezTo>
                  <a:cubicBezTo>
                    <a:pt x="3" y="46"/>
                    <a:pt x="0" y="40"/>
                    <a:pt x="1" y="37"/>
                  </a:cubicBezTo>
                  <a:cubicBezTo>
                    <a:pt x="2" y="31"/>
                    <a:pt x="5" y="33"/>
                    <a:pt x="8" y="31"/>
                  </a:cubicBezTo>
                  <a:cubicBezTo>
                    <a:pt x="11" y="28"/>
                    <a:pt x="15" y="25"/>
                    <a:pt x="18" y="23"/>
                  </a:cubicBezTo>
                  <a:cubicBezTo>
                    <a:pt x="21" y="21"/>
                    <a:pt x="21" y="21"/>
                    <a:pt x="25" y="21"/>
                  </a:cubicBezTo>
                  <a:cubicBezTo>
                    <a:pt x="28" y="21"/>
                    <a:pt x="34" y="23"/>
                    <a:pt x="37" y="23"/>
                  </a:cubicBezTo>
                  <a:cubicBezTo>
                    <a:pt x="41" y="23"/>
                    <a:pt x="45" y="27"/>
                    <a:pt x="47" y="24"/>
                  </a:cubicBezTo>
                  <a:cubicBezTo>
                    <a:pt x="49" y="20"/>
                    <a:pt x="43" y="13"/>
                    <a:pt x="46" y="9"/>
                  </a:cubicBezTo>
                  <a:cubicBezTo>
                    <a:pt x="49" y="6"/>
                    <a:pt x="55" y="13"/>
                    <a:pt x="58" y="10"/>
                  </a:cubicBezTo>
                  <a:cubicBezTo>
                    <a:pt x="62" y="12"/>
                    <a:pt x="65" y="13"/>
                    <a:pt x="68" y="15"/>
                  </a:cubicBezTo>
                  <a:cubicBezTo>
                    <a:pt x="71" y="18"/>
                    <a:pt x="73" y="24"/>
                    <a:pt x="76" y="26"/>
                  </a:cubicBezTo>
                  <a:cubicBezTo>
                    <a:pt x="80" y="27"/>
                    <a:pt x="84" y="27"/>
                    <a:pt x="87" y="25"/>
                  </a:cubicBezTo>
                  <a:cubicBezTo>
                    <a:pt x="91" y="23"/>
                    <a:pt x="92" y="19"/>
                    <a:pt x="93" y="16"/>
                  </a:cubicBezTo>
                  <a:cubicBezTo>
                    <a:pt x="95" y="12"/>
                    <a:pt x="93" y="7"/>
                    <a:pt x="96" y="5"/>
                  </a:cubicBezTo>
                  <a:cubicBezTo>
                    <a:pt x="100" y="3"/>
                    <a:pt x="103" y="10"/>
                    <a:pt x="106" y="9"/>
                  </a:cubicBezTo>
                  <a:cubicBezTo>
                    <a:pt x="109" y="9"/>
                    <a:pt x="107" y="5"/>
                    <a:pt x="110" y="3"/>
                  </a:cubicBezTo>
                  <a:cubicBezTo>
                    <a:pt x="114" y="1"/>
                    <a:pt x="120" y="0"/>
                    <a:pt x="123" y="0"/>
                  </a:cubicBezTo>
                  <a:cubicBezTo>
                    <a:pt x="126" y="1"/>
                    <a:pt x="126" y="4"/>
                    <a:pt x="125" y="6"/>
                  </a:cubicBezTo>
                  <a:cubicBezTo>
                    <a:pt x="124" y="8"/>
                    <a:pt x="120" y="7"/>
                    <a:pt x="120" y="11"/>
                  </a:cubicBezTo>
                  <a:cubicBezTo>
                    <a:pt x="120" y="16"/>
                    <a:pt x="124" y="27"/>
                    <a:pt x="123" y="32"/>
                  </a:cubicBezTo>
                  <a:cubicBezTo>
                    <a:pt x="122" y="37"/>
                    <a:pt x="119" y="38"/>
                    <a:pt x="116" y="39"/>
                  </a:cubicBezTo>
                  <a:cubicBezTo>
                    <a:pt x="113" y="40"/>
                    <a:pt x="109" y="38"/>
                    <a:pt x="107" y="39"/>
                  </a:cubicBezTo>
                  <a:cubicBezTo>
                    <a:pt x="104" y="40"/>
                    <a:pt x="102" y="42"/>
                    <a:pt x="101" y="45"/>
                  </a:cubicBezTo>
                  <a:cubicBezTo>
                    <a:pt x="99" y="48"/>
                    <a:pt x="101" y="53"/>
                    <a:pt x="99" y="56"/>
                  </a:cubicBezTo>
                  <a:cubicBezTo>
                    <a:pt x="98" y="58"/>
                    <a:pt x="94" y="53"/>
                    <a:pt x="93" y="56"/>
                  </a:cubicBezTo>
                  <a:cubicBezTo>
                    <a:pt x="91" y="58"/>
                    <a:pt x="95" y="64"/>
                    <a:pt x="94" y="66"/>
                  </a:cubicBezTo>
                  <a:cubicBezTo>
                    <a:pt x="93" y="69"/>
                    <a:pt x="90" y="66"/>
                    <a:pt x="88" y="68"/>
                  </a:cubicBezTo>
                  <a:cubicBezTo>
                    <a:pt x="87" y="71"/>
                    <a:pt x="89" y="77"/>
                    <a:pt x="86" y="80"/>
                  </a:cubicBezTo>
                  <a:cubicBezTo>
                    <a:pt x="83" y="83"/>
                    <a:pt x="75" y="83"/>
                    <a:pt x="72" y="85"/>
                  </a:cubicBezTo>
                  <a:cubicBezTo>
                    <a:pt x="69" y="87"/>
                    <a:pt x="73" y="89"/>
                    <a:pt x="70" y="91"/>
                  </a:cubicBezTo>
                  <a:cubicBezTo>
                    <a:pt x="67" y="92"/>
                    <a:pt x="65" y="89"/>
                    <a:pt x="57" y="9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0" name="Freeform 16"/>
            <p:cNvSpPr>
              <a:spLocks/>
            </p:cNvSpPr>
            <p:nvPr/>
          </p:nvSpPr>
          <p:spPr bwMode="auto">
            <a:xfrm rot="21439583">
              <a:off x="3921661" y="5939952"/>
              <a:ext cx="492055" cy="475105"/>
            </a:xfrm>
            <a:custGeom>
              <a:avLst/>
              <a:gdLst/>
              <a:ahLst/>
              <a:cxnLst>
                <a:cxn ang="0">
                  <a:pos x="18" y="84"/>
                </a:cxn>
                <a:cxn ang="0">
                  <a:pos x="15" y="82"/>
                </a:cxn>
                <a:cxn ang="0">
                  <a:pos x="0" y="64"/>
                </a:cxn>
                <a:cxn ang="0">
                  <a:pos x="13" y="61"/>
                </a:cxn>
                <a:cxn ang="0">
                  <a:pos x="15" y="55"/>
                </a:cxn>
                <a:cxn ang="0">
                  <a:pos x="29" y="50"/>
                </a:cxn>
                <a:cxn ang="0">
                  <a:pos x="31" y="38"/>
                </a:cxn>
                <a:cxn ang="0">
                  <a:pos x="37" y="36"/>
                </a:cxn>
                <a:cxn ang="0">
                  <a:pos x="36" y="26"/>
                </a:cxn>
                <a:cxn ang="0">
                  <a:pos x="42" y="26"/>
                </a:cxn>
                <a:cxn ang="0">
                  <a:pos x="44" y="15"/>
                </a:cxn>
                <a:cxn ang="0">
                  <a:pos x="50" y="9"/>
                </a:cxn>
                <a:cxn ang="0">
                  <a:pos x="59" y="9"/>
                </a:cxn>
                <a:cxn ang="0">
                  <a:pos x="66" y="2"/>
                </a:cxn>
                <a:cxn ang="0">
                  <a:pos x="66" y="0"/>
                </a:cxn>
                <a:cxn ang="0">
                  <a:pos x="73" y="2"/>
                </a:cxn>
                <a:cxn ang="0">
                  <a:pos x="80" y="7"/>
                </a:cxn>
                <a:cxn ang="0">
                  <a:pos x="81" y="18"/>
                </a:cxn>
                <a:cxn ang="0">
                  <a:pos x="86" y="24"/>
                </a:cxn>
                <a:cxn ang="0">
                  <a:pos x="88" y="30"/>
                </a:cxn>
                <a:cxn ang="0">
                  <a:pos x="86" y="37"/>
                </a:cxn>
                <a:cxn ang="0">
                  <a:pos x="80" y="47"/>
                </a:cxn>
                <a:cxn ang="0">
                  <a:pos x="73" y="49"/>
                </a:cxn>
                <a:cxn ang="0">
                  <a:pos x="64" y="52"/>
                </a:cxn>
                <a:cxn ang="0">
                  <a:pos x="55" y="56"/>
                </a:cxn>
                <a:cxn ang="0">
                  <a:pos x="53" y="62"/>
                </a:cxn>
                <a:cxn ang="0">
                  <a:pos x="70" y="62"/>
                </a:cxn>
                <a:cxn ang="0">
                  <a:pos x="71" y="68"/>
                </a:cxn>
                <a:cxn ang="0">
                  <a:pos x="78" y="70"/>
                </a:cxn>
                <a:cxn ang="0">
                  <a:pos x="74" y="77"/>
                </a:cxn>
                <a:cxn ang="0">
                  <a:pos x="67" y="84"/>
                </a:cxn>
                <a:cxn ang="0">
                  <a:pos x="66" y="90"/>
                </a:cxn>
                <a:cxn ang="0">
                  <a:pos x="65" y="98"/>
                </a:cxn>
                <a:cxn ang="0">
                  <a:pos x="57" y="96"/>
                </a:cxn>
                <a:cxn ang="0">
                  <a:pos x="50" y="92"/>
                </a:cxn>
                <a:cxn ang="0">
                  <a:pos x="42" y="90"/>
                </a:cxn>
                <a:cxn ang="0">
                  <a:pos x="35" y="89"/>
                </a:cxn>
                <a:cxn ang="0">
                  <a:pos x="29" y="82"/>
                </a:cxn>
                <a:cxn ang="0">
                  <a:pos x="18" y="84"/>
                </a:cxn>
              </a:cxnLst>
              <a:rect l="0" t="0" r="r" b="b"/>
              <a:pathLst>
                <a:path w="88" h="100">
                  <a:moveTo>
                    <a:pt x="18" y="84"/>
                  </a:moveTo>
                  <a:cubicBezTo>
                    <a:pt x="17" y="84"/>
                    <a:pt x="16" y="83"/>
                    <a:pt x="15" y="82"/>
                  </a:cubicBezTo>
                  <a:cubicBezTo>
                    <a:pt x="10" y="77"/>
                    <a:pt x="4" y="67"/>
                    <a:pt x="0" y="64"/>
                  </a:cubicBezTo>
                  <a:cubicBezTo>
                    <a:pt x="8" y="59"/>
                    <a:pt x="10" y="62"/>
                    <a:pt x="13" y="61"/>
                  </a:cubicBezTo>
                  <a:cubicBezTo>
                    <a:pt x="16" y="59"/>
                    <a:pt x="12" y="57"/>
                    <a:pt x="15" y="55"/>
                  </a:cubicBezTo>
                  <a:cubicBezTo>
                    <a:pt x="18" y="53"/>
                    <a:pt x="26" y="53"/>
                    <a:pt x="29" y="50"/>
                  </a:cubicBezTo>
                  <a:cubicBezTo>
                    <a:pt x="32" y="47"/>
                    <a:pt x="30" y="41"/>
                    <a:pt x="31" y="38"/>
                  </a:cubicBezTo>
                  <a:cubicBezTo>
                    <a:pt x="33" y="36"/>
                    <a:pt x="36" y="39"/>
                    <a:pt x="37" y="36"/>
                  </a:cubicBezTo>
                  <a:cubicBezTo>
                    <a:pt x="38" y="34"/>
                    <a:pt x="34" y="28"/>
                    <a:pt x="36" y="26"/>
                  </a:cubicBezTo>
                  <a:cubicBezTo>
                    <a:pt x="37" y="23"/>
                    <a:pt x="41" y="28"/>
                    <a:pt x="42" y="26"/>
                  </a:cubicBezTo>
                  <a:cubicBezTo>
                    <a:pt x="44" y="23"/>
                    <a:pt x="42" y="18"/>
                    <a:pt x="44" y="15"/>
                  </a:cubicBezTo>
                  <a:cubicBezTo>
                    <a:pt x="45" y="12"/>
                    <a:pt x="47" y="10"/>
                    <a:pt x="50" y="9"/>
                  </a:cubicBezTo>
                  <a:cubicBezTo>
                    <a:pt x="52" y="8"/>
                    <a:pt x="56" y="10"/>
                    <a:pt x="59" y="9"/>
                  </a:cubicBezTo>
                  <a:cubicBezTo>
                    <a:pt x="62" y="8"/>
                    <a:pt x="65" y="7"/>
                    <a:pt x="66" y="2"/>
                  </a:cubicBezTo>
                  <a:cubicBezTo>
                    <a:pt x="66" y="1"/>
                    <a:pt x="66" y="1"/>
                    <a:pt x="66" y="0"/>
                  </a:cubicBezTo>
                  <a:cubicBezTo>
                    <a:pt x="70" y="0"/>
                    <a:pt x="71" y="1"/>
                    <a:pt x="73" y="2"/>
                  </a:cubicBezTo>
                  <a:cubicBezTo>
                    <a:pt x="76" y="3"/>
                    <a:pt x="78" y="4"/>
                    <a:pt x="80" y="7"/>
                  </a:cubicBezTo>
                  <a:cubicBezTo>
                    <a:pt x="81" y="10"/>
                    <a:pt x="80" y="15"/>
                    <a:pt x="81" y="18"/>
                  </a:cubicBezTo>
                  <a:cubicBezTo>
                    <a:pt x="82" y="21"/>
                    <a:pt x="84" y="22"/>
                    <a:pt x="86" y="24"/>
                  </a:cubicBezTo>
                  <a:cubicBezTo>
                    <a:pt x="87" y="26"/>
                    <a:pt x="88" y="27"/>
                    <a:pt x="88" y="30"/>
                  </a:cubicBezTo>
                  <a:cubicBezTo>
                    <a:pt x="88" y="32"/>
                    <a:pt x="87" y="35"/>
                    <a:pt x="86" y="37"/>
                  </a:cubicBezTo>
                  <a:cubicBezTo>
                    <a:pt x="85" y="40"/>
                    <a:pt x="83" y="45"/>
                    <a:pt x="80" y="47"/>
                  </a:cubicBezTo>
                  <a:cubicBezTo>
                    <a:pt x="78" y="49"/>
                    <a:pt x="75" y="48"/>
                    <a:pt x="73" y="49"/>
                  </a:cubicBezTo>
                  <a:cubicBezTo>
                    <a:pt x="70" y="50"/>
                    <a:pt x="67" y="50"/>
                    <a:pt x="64" y="52"/>
                  </a:cubicBezTo>
                  <a:cubicBezTo>
                    <a:pt x="61" y="53"/>
                    <a:pt x="57" y="54"/>
                    <a:pt x="55" y="56"/>
                  </a:cubicBezTo>
                  <a:cubicBezTo>
                    <a:pt x="53" y="58"/>
                    <a:pt x="50" y="60"/>
                    <a:pt x="53" y="62"/>
                  </a:cubicBezTo>
                  <a:cubicBezTo>
                    <a:pt x="57" y="63"/>
                    <a:pt x="67" y="61"/>
                    <a:pt x="70" y="62"/>
                  </a:cubicBezTo>
                  <a:cubicBezTo>
                    <a:pt x="74" y="64"/>
                    <a:pt x="69" y="67"/>
                    <a:pt x="71" y="68"/>
                  </a:cubicBezTo>
                  <a:cubicBezTo>
                    <a:pt x="72" y="70"/>
                    <a:pt x="77" y="68"/>
                    <a:pt x="78" y="70"/>
                  </a:cubicBezTo>
                  <a:cubicBezTo>
                    <a:pt x="79" y="73"/>
                    <a:pt x="75" y="75"/>
                    <a:pt x="74" y="77"/>
                  </a:cubicBezTo>
                  <a:cubicBezTo>
                    <a:pt x="72" y="79"/>
                    <a:pt x="68" y="82"/>
                    <a:pt x="67" y="84"/>
                  </a:cubicBezTo>
                  <a:cubicBezTo>
                    <a:pt x="66" y="86"/>
                    <a:pt x="67" y="88"/>
                    <a:pt x="66" y="90"/>
                  </a:cubicBezTo>
                  <a:cubicBezTo>
                    <a:pt x="66" y="92"/>
                    <a:pt x="67" y="97"/>
                    <a:pt x="65" y="98"/>
                  </a:cubicBezTo>
                  <a:cubicBezTo>
                    <a:pt x="63" y="100"/>
                    <a:pt x="60" y="97"/>
                    <a:pt x="57" y="96"/>
                  </a:cubicBezTo>
                  <a:cubicBezTo>
                    <a:pt x="55" y="95"/>
                    <a:pt x="53" y="93"/>
                    <a:pt x="50" y="92"/>
                  </a:cubicBezTo>
                  <a:cubicBezTo>
                    <a:pt x="48" y="91"/>
                    <a:pt x="45" y="91"/>
                    <a:pt x="42" y="90"/>
                  </a:cubicBezTo>
                  <a:cubicBezTo>
                    <a:pt x="40" y="90"/>
                    <a:pt x="37" y="90"/>
                    <a:pt x="35" y="89"/>
                  </a:cubicBezTo>
                  <a:cubicBezTo>
                    <a:pt x="32" y="87"/>
                    <a:pt x="36" y="83"/>
                    <a:pt x="29" y="82"/>
                  </a:cubicBezTo>
                  <a:cubicBezTo>
                    <a:pt x="26" y="82"/>
                    <a:pt x="22" y="83"/>
                    <a:pt x="18" y="8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1" name="Freeform 18"/>
            <p:cNvSpPr>
              <a:spLocks/>
            </p:cNvSpPr>
            <p:nvPr/>
          </p:nvSpPr>
          <p:spPr bwMode="auto">
            <a:xfrm rot="21439583">
              <a:off x="4291159" y="6194786"/>
              <a:ext cx="252028" cy="231592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12" y="8"/>
                </a:cxn>
                <a:cxn ang="0">
                  <a:pos x="19" y="1"/>
                </a:cxn>
                <a:cxn ang="0">
                  <a:pos x="21" y="0"/>
                </a:cxn>
                <a:cxn ang="0">
                  <a:pos x="25" y="5"/>
                </a:cxn>
                <a:cxn ang="0">
                  <a:pos x="33" y="8"/>
                </a:cxn>
                <a:cxn ang="0">
                  <a:pos x="35" y="16"/>
                </a:cxn>
                <a:cxn ang="0">
                  <a:pos x="44" y="21"/>
                </a:cxn>
                <a:cxn ang="0">
                  <a:pos x="42" y="34"/>
                </a:cxn>
                <a:cxn ang="0">
                  <a:pos x="35" y="37"/>
                </a:cxn>
                <a:cxn ang="0">
                  <a:pos x="37" y="49"/>
                </a:cxn>
                <a:cxn ang="0">
                  <a:pos x="34" y="48"/>
                </a:cxn>
                <a:cxn ang="0">
                  <a:pos x="19" y="48"/>
                </a:cxn>
                <a:cxn ang="0">
                  <a:pos x="8" y="47"/>
                </a:cxn>
                <a:cxn ang="0">
                  <a:pos x="0" y="41"/>
                </a:cxn>
                <a:cxn ang="0">
                  <a:pos x="1" y="33"/>
                </a:cxn>
                <a:cxn ang="0">
                  <a:pos x="2" y="27"/>
                </a:cxn>
                <a:cxn ang="0">
                  <a:pos x="9" y="20"/>
                </a:cxn>
                <a:cxn ang="0">
                  <a:pos x="13" y="13"/>
                </a:cxn>
                <a:cxn ang="0">
                  <a:pos x="6" y="11"/>
                </a:cxn>
                <a:cxn ang="0">
                  <a:pos x="5" y="11"/>
                </a:cxn>
              </a:cxnLst>
              <a:rect l="0" t="0" r="r" b="b"/>
              <a:pathLst>
                <a:path w="45" h="49">
                  <a:moveTo>
                    <a:pt x="5" y="11"/>
                  </a:moveTo>
                  <a:cubicBezTo>
                    <a:pt x="8" y="10"/>
                    <a:pt x="10" y="9"/>
                    <a:pt x="12" y="8"/>
                  </a:cubicBezTo>
                  <a:cubicBezTo>
                    <a:pt x="17" y="5"/>
                    <a:pt x="15" y="3"/>
                    <a:pt x="19" y="1"/>
                  </a:cubicBezTo>
                  <a:cubicBezTo>
                    <a:pt x="19" y="1"/>
                    <a:pt x="20" y="1"/>
                    <a:pt x="21" y="0"/>
                  </a:cubicBezTo>
                  <a:cubicBezTo>
                    <a:pt x="22" y="2"/>
                    <a:pt x="23" y="4"/>
                    <a:pt x="25" y="5"/>
                  </a:cubicBezTo>
                  <a:cubicBezTo>
                    <a:pt x="28" y="7"/>
                    <a:pt x="31" y="6"/>
                    <a:pt x="33" y="8"/>
                  </a:cubicBezTo>
                  <a:cubicBezTo>
                    <a:pt x="35" y="10"/>
                    <a:pt x="34" y="14"/>
                    <a:pt x="35" y="16"/>
                  </a:cubicBezTo>
                  <a:cubicBezTo>
                    <a:pt x="37" y="19"/>
                    <a:pt x="42" y="18"/>
                    <a:pt x="44" y="21"/>
                  </a:cubicBezTo>
                  <a:cubicBezTo>
                    <a:pt x="45" y="25"/>
                    <a:pt x="44" y="31"/>
                    <a:pt x="42" y="34"/>
                  </a:cubicBezTo>
                  <a:cubicBezTo>
                    <a:pt x="41" y="37"/>
                    <a:pt x="37" y="33"/>
                    <a:pt x="35" y="37"/>
                  </a:cubicBezTo>
                  <a:cubicBezTo>
                    <a:pt x="34" y="39"/>
                    <a:pt x="38" y="45"/>
                    <a:pt x="37" y="49"/>
                  </a:cubicBezTo>
                  <a:cubicBezTo>
                    <a:pt x="36" y="49"/>
                    <a:pt x="35" y="48"/>
                    <a:pt x="34" y="48"/>
                  </a:cubicBezTo>
                  <a:cubicBezTo>
                    <a:pt x="20" y="47"/>
                    <a:pt x="24" y="48"/>
                    <a:pt x="19" y="48"/>
                  </a:cubicBezTo>
                  <a:cubicBezTo>
                    <a:pt x="15" y="47"/>
                    <a:pt x="11" y="48"/>
                    <a:pt x="8" y="47"/>
                  </a:cubicBezTo>
                  <a:cubicBezTo>
                    <a:pt x="4" y="46"/>
                    <a:pt x="4" y="45"/>
                    <a:pt x="0" y="41"/>
                  </a:cubicBezTo>
                  <a:cubicBezTo>
                    <a:pt x="2" y="40"/>
                    <a:pt x="1" y="35"/>
                    <a:pt x="1" y="33"/>
                  </a:cubicBezTo>
                  <a:cubicBezTo>
                    <a:pt x="2" y="31"/>
                    <a:pt x="1" y="29"/>
                    <a:pt x="2" y="27"/>
                  </a:cubicBezTo>
                  <a:cubicBezTo>
                    <a:pt x="3" y="25"/>
                    <a:pt x="7" y="22"/>
                    <a:pt x="9" y="20"/>
                  </a:cubicBezTo>
                  <a:cubicBezTo>
                    <a:pt x="10" y="18"/>
                    <a:pt x="14" y="16"/>
                    <a:pt x="13" y="13"/>
                  </a:cubicBezTo>
                  <a:cubicBezTo>
                    <a:pt x="12" y="11"/>
                    <a:pt x="7" y="13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2" name="Freeform 19"/>
            <p:cNvSpPr>
              <a:spLocks/>
            </p:cNvSpPr>
            <p:nvPr/>
          </p:nvSpPr>
          <p:spPr bwMode="auto">
            <a:xfrm rot="21439583">
              <a:off x="4037849" y="6311045"/>
              <a:ext cx="860096" cy="405286"/>
            </a:xfrm>
            <a:custGeom>
              <a:avLst/>
              <a:gdLst/>
              <a:ahLst/>
              <a:cxnLst>
                <a:cxn ang="0">
                  <a:pos x="154" y="30"/>
                </a:cxn>
                <a:cxn ang="0">
                  <a:pos x="142" y="32"/>
                </a:cxn>
                <a:cxn ang="0">
                  <a:pos x="126" y="33"/>
                </a:cxn>
                <a:cxn ang="0">
                  <a:pos x="58" y="32"/>
                </a:cxn>
                <a:cxn ang="0">
                  <a:pos x="114" y="58"/>
                </a:cxn>
                <a:cxn ang="0">
                  <a:pos x="116" y="64"/>
                </a:cxn>
                <a:cxn ang="0">
                  <a:pos x="113" y="72"/>
                </a:cxn>
                <a:cxn ang="0">
                  <a:pos x="88" y="72"/>
                </a:cxn>
                <a:cxn ang="0">
                  <a:pos x="87" y="78"/>
                </a:cxn>
                <a:cxn ang="0">
                  <a:pos x="80" y="78"/>
                </a:cxn>
                <a:cxn ang="0">
                  <a:pos x="76" y="84"/>
                </a:cxn>
                <a:cxn ang="0">
                  <a:pos x="67" y="82"/>
                </a:cxn>
                <a:cxn ang="0">
                  <a:pos x="65" y="74"/>
                </a:cxn>
                <a:cxn ang="0">
                  <a:pos x="63" y="55"/>
                </a:cxn>
                <a:cxn ang="0">
                  <a:pos x="43" y="57"/>
                </a:cxn>
                <a:cxn ang="0">
                  <a:pos x="33" y="49"/>
                </a:cxn>
                <a:cxn ang="0">
                  <a:pos x="34" y="26"/>
                </a:cxn>
                <a:cxn ang="0">
                  <a:pos x="29" y="17"/>
                </a:cxn>
                <a:cxn ang="0">
                  <a:pos x="18" y="15"/>
                </a:cxn>
                <a:cxn ang="0">
                  <a:pos x="0" y="2"/>
                </a:cxn>
                <a:cxn ang="0">
                  <a:pos x="1" y="2"/>
                </a:cxn>
                <a:cxn ang="0">
                  <a:pos x="12" y="0"/>
                </a:cxn>
                <a:cxn ang="0">
                  <a:pos x="18" y="7"/>
                </a:cxn>
                <a:cxn ang="0">
                  <a:pos x="25" y="8"/>
                </a:cxn>
                <a:cxn ang="0">
                  <a:pos x="33" y="10"/>
                </a:cxn>
                <a:cxn ang="0">
                  <a:pos x="40" y="14"/>
                </a:cxn>
                <a:cxn ang="0">
                  <a:pos x="48" y="16"/>
                </a:cxn>
                <a:cxn ang="0">
                  <a:pos x="56" y="22"/>
                </a:cxn>
                <a:cxn ang="0">
                  <a:pos x="67" y="23"/>
                </a:cxn>
                <a:cxn ang="0">
                  <a:pos x="82" y="23"/>
                </a:cxn>
                <a:cxn ang="0">
                  <a:pos x="154" y="30"/>
                </a:cxn>
              </a:cxnLst>
              <a:rect l="0" t="0" r="r" b="b"/>
              <a:pathLst>
                <a:path w="154" h="85">
                  <a:moveTo>
                    <a:pt x="154" y="30"/>
                  </a:moveTo>
                  <a:cubicBezTo>
                    <a:pt x="150" y="31"/>
                    <a:pt x="147" y="31"/>
                    <a:pt x="142" y="32"/>
                  </a:cubicBezTo>
                  <a:cubicBezTo>
                    <a:pt x="138" y="34"/>
                    <a:pt x="131" y="32"/>
                    <a:pt x="126" y="33"/>
                  </a:cubicBezTo>
                  <a:cubicBezTo>
                    <a:pt x="122" y="34"/>
                    <a:pt x="69" y="32"/>
                    <a:pt x="58" y="32"/>
                  </a:cubicBezTo>
                  <a:cubicBezTo>
                    <a:pt x="60" y="49"/>
                    <a:pt x="114" y="54"/>
                    <a:pt x="114" y="58"/>
                  </a:cubicBezTo>
                  <a:cubicBezTo>
                    <a:pt x="114" y="62"/>
                    <a:pt x="116" y="62"/>
                    <a:pt x="116" y="64"/>
                  </a:cubicBezTo>
                  <a:cubicBezTo>
                    <a:pt x="116" y="67"/>
                    <a:pt x="119" y="70"/>
                    <a:pt x="113" y="72"/>
                  </a:cubicBezTo>
                  <a:cubicBezTo>
                    <a:pt x="108" y="73"/>
                    <a:pt x="93" y="71"/>
                    <a:pt x="88" y="72"/>
                  </a:cubicBezTo>
                  <a:cubicBezTo>
                    <a:pt x="83" y="73"/>
                    <a:pt x="89" y="76"/>
                    <a:pt x="87" y="78"/>
                  </a:cubicBezTo>
                  <a:cubicBezTo>
                    <a:pt x="85" y="79"/>
                    <a:pt x="82" y="76"/>
                    <a:pt x="80" y="78"/>
                  </a:cubicBezTo>
                  <a:cubicBezTo>
                    <a:pt x="77" y="79"/>
                    <a:pt x="79" y="83"/>
                    <a:pt x="76" y="84"/>
                  </a:cubicBezTo>
                  <a:cubicBezTo>
                    <a:pt x="74" y="85"/>
                    <a:pt x="69" y="84"/>
                    <a:pt x="67" y="82"/>
                  </a:cubicBezTo>
                  <a:cubicBezTo>
                    <a:pt x="65" y="80"/>
                    <a:pt x="65" y="79"/>
                    <a:pt x="65" y="74"/>
                  </a:cubicBezTo>
                  <a:cubicBezTo>
                    <a:pt x="64" y="70"/>
                    <a:pt x="69" y="60"/>
                    <a:pt x="63" y="55"/>
                  </a:cubicBezTo>
                  <a:cubicBezTo>
                    <a:pt x="58" y="51"/>
                    <a:pt x="48" y="58"/>
                    <a:pt x="43" y="57"/>
                  </a:cubicBezTo>
                  <a:cubicBezTo>
                    <a:pt x="38" y="56"/>
                    <a:pt x="35" y="54"/>
                    <a:pt x="33" y="49"/>
                  </a:cubicBezTo>
                  <a:cubicBezTo>
                    <a:pt x="32" y="43"/>
                    <a:pt x="35" y="31"/>
                    <a:pt x="34" y="26"/>
                  </a:cubicBezTo>
                  <a:cubicBezTo>
                    <a:pt x="34" y="20"/>
                    <a:pt x="32" y="19"/>
                    <a:pt x="29" y="17"/>
                  </a:cubicBezTo>
                  <a:cubicBezTo>
                    <a:pt x="26" y="15"/>
                    <a:pt x="23" y="18"/>
                    <a:pt x="18" y="15"/>
                  </a:cubicBezTo>
                  <a:cubicBezTo>
                    <a:pt x="13" y="12"/>
                    <a:pt x="5" y="7"/>
                    <a:pt x="0" y="2"/>
                  </a:cubicBezTo>
                  <a:cubicBezTo>
                    <a:pt x="0" y="2"/>
                    <a:pt x="0" y="2"/>
                    <a:pt x="1" y="2"/>
                  </a:cubicBezTo>
                  <a:cubicBezTo>
                    <a:pt x="5" y="1"/>
                    <a:pt x="9" y="0"/>
                    <a:pt x="12" y="0"/>
                  </a:cubicBezTo>
                  <a:cubicBezTo>
                    <a:pt x="19" y="1"/>
                    <a:pt x="15" y="5"/>
                    <a:pt x="18" y="7"/>
                  </a:cubicBezTo>
                  <a:cubicBezTo>
                    <a:pt x="20" y="8"/>
                    <a:pt x="23" y="8"/>
                    <a:pt x="25" y="8"/>
                  </a:cubicBezTo>
                  <a:cubicBezTo>
                    <a:pt x="28" y="9"/>
                    <a:pt x="31" y="9"/>
                    <a:pt x="33" y="10"/>
                  </a:cubicBezTo>
                  <a:cubicBezTo>
                    <a:pt x="36" y="11"/>
                    <a:pt x="38" y="13"/>
                    <a:pt x="40" y="14"/>
                  </a:cubicBezTo>
                  <a:cubicBezTo>
                    <a:pt x="43" y="15"/>
                    <a:pt x="46" y="18"/>
                    <a:pt x="48" y="16"/>
                  </a:cubicBezTo>
                  <a:cubicBezTo>
                    <a:pt x="52" y="20"/>
                    <a:pt x="52" y="21"/>
                    <a:pt x="56" y="22"/>
                  </a:cubicBezTo>
                  <a:cubicBezTo>
                    <a:pt x="59" y="23"/>
                    <a:pt x="63" y="22"/>
                    <a:pt x="67" y="23"/>
                  </a:cubicBezTo>
                  <a:cubicBezTo>
                    <a:pt x="72" y="23"/>
                    <a:pt x="68" y="22"/>
                    <a:pt x="82" y="23"/>
                  </a:cubicBezTo>
                  <a:cubicBezTo>
                    <a:pt x="97" y="25"/>
                    <a:pt x="140" y="25"/>
                    <a:pt x="154" y="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3" name="Freeform 20"/>
            <p:cNvSpPr>
              <a:spLocks/>
            </p:cNvSpPr>
            <p:nvPr/>
          </p:nvSpPr>
          <p:spPr bwMode="auto">
            <a:xfrm rot="21439583">
              <a:off x="3440681" y="5018480"/>
              <a:ext cx="586066" cy="618146"/>
            </a:xfrm>
            <a:custGeom>
              <a:avLst/>
              <a:gdLst/>
              <a:ahLst/>
              <a:cxnLst>
                <a:cxn ang="0">
                  <a:pos x="16" y="130"/>
                </a:cxn>
                <a:cxn ang="0">
                  <a:pos x="24" y="128"/>
                </a:cxn>
                <a:cxn ang="0">
                  <a:pos x="24" y="122"/>
                </a:cxn>
                <a:cxn ang="0">
                  <a:pos x="28" y="120"/>
                </a:cxn>
                <a:cxn ang="0">
                  <a:pos x="28" y="109"/>
                </a:cxn>
                <a:cxn ang="0">
                  <a:pos x="44" y="106"/>
                </a:cxn>
                <a:cxn ang="0">
                  <a:pos x="49" y="102"/>
                </a:cxn>
                <a:cxn ang="0">
                  <a:pos x="61" y="102"/>
                </a:cxn>
                <a:cxn ang="0">
                  <a:pos x="69" y="95"/>
                </a:cxn>
                <a:cxn ang="0">
                  <a:pos x="73" y="86"/>
                </a:cxn>
                <a:cxn ang="0">
                  <a:pos x="81" y="84"/>
                </a:cxn>
                <a:cxn ang="0">
                  <a:pos x="84" y="78"/>
                </a:cxn>
                <a:cxn ang="0">
                  <a:pos x="83" y="71"/>
                </a:cxn>
                <a:cxn ang="0">
                  <a:pos x="89" y="65"/>
                </a:cxn>
                <a:cxn ang="0">
                  <a:pos x="101" y="65"/>
                </a:cxn>
                <a:cxn ang="0">
                  <a:pos x="100" y="53"/>
                </a:cxn>
                <a:cxn ang="0">
                  <a:pos x="101" y="46"/>
                </a:cxn>
                <a:cxn ang="0">
                  <a:pos x="104" y="39"/>
                </a:cxn>
                <a:cxn ang="0">
                  <a:pos x="105" y="23"/>
                </a:cxn>
                <a:cxn ang="0">
                  <a:pos x="103" y="22"/>
                </a:cxn>
                <a:cxn ang="0">
                  <a:pos x="98" y="13"/>
                </a:cxn>
                <a:cxn ang="0">
                  <a:pos x="88" y="13"/>
                </a:cxn>
                <a:cxn ang="0">
                  <a:pos x="82" y="1"/>
                </a:cxn>
                <a:cxn ang="0">
                  <a:pos x="75" y="6"/>
                </a:cxn>
                <a:cxn ang="0">
                  <a:pos x="58" y="3"/>
                </a:cxn>
                <a:cxn ang="0">
                  <a:pos x="53" y="11"/>
                </a:cxn>
                <a:cxn ang="0">
                  <a:pos x="44" y="13"/>
                </a:cxn>
                <a:cxn ang="0">
                  <a:pos x="40" y="22"/>
                </a:cxn>
                <a:cxn ang="0">
                  <a:pos x="32" y="15"/>
                </a:cxn>
                <a:cxn ang="0">
                  <a:pos x="32" y="15"/>
                </a:cxn>
                <a:cxn ang="0">
                  <a:pos x="28" y="20"/>
                </a:cxn>
                <a:cxn ang="0">
                  <a:pos x="30" y="26"/>
                </a:cxn>
                <a:cxn ang="0">
                  <a:pos x="22" y="27"/>
                </a:cxn>
                <a:cxn ang="0">
                  <a:pos x="12" y="32"/>
                </a:cxn>
                <a:cxn ang="0">
                  <a:pos x="13" y="40"/>
                </a:cxn>
                <a:cxn ang="0">
                  <a:pos x="22" y="40"/>
                </a:cxn>
                <a:cxn ang="0">
                  <a:pos x="23" y="47"/>
                </a:cxn>
                <a:cxn ang="0">
                  <a:pos x="30" y="50"/>
                </a:cxn>
                <a:cxn ang="0">
                  <a:pos x="32" y="61"/>
                </a:cxn>
                <a:cxn ang="0">
                  <a:pos x="29" y="68"/>
                </a:cxn>
                <a:cxn ang="0">
                  <a:pos x="25" y="69"/>
                </a:cxn>
                <a:cxn ang="0">
                  <a:pos x="26" y="79"/>
                </a:cxn>
                <a:cxn ang="0">
                  <a:pos x="22" y="83"/>
                </a:cxn>
                <a:cxn ang="0">
                  <a:pos x="7" y="86"/>
                </a:cxn>
                <a:cxn ang="0">
                  <a:pos x="6" y="92"/>
                </a:cxn>
                <a:cxn ang="0">
                  <a:pos x="16" y="95"/>
                </a:cxn>
                <a:cxn ang="0">
                  <a:pos x="19" y="100"/>
                </a:cxn>
                <a:cxn ang="0">
                  <a:pos x="12" y="101"/>
                </a:cxn>
                <a:cxn ang="0">
                  <a:pos x="10" y="109"/>
                </a:cxn>
                <a:cxn ang="0">
                  <a:pos x="2" y="112"/>
                </a:cxn>
                <a:cxn ang="0">
                  <a:pos x="2" y="121"/>
                </a:cxn>
                <a:cxn ang="0">
                  <a:pos x="10" y="121"/>
                </a:cxn>
                <a:cxn ang="0">
                  <a:pos x="16" y="125"/>
                </a:cxn>
                <a:cxn ang="0">
                  <a:pos x="16" y="130"/>
                </a:cxn>
              </a:cxnLst>
              <a:rect l="0" t="0" r="r" b="b"/>
              <a:pathLst>
                <a:path w="105" h="130">
                  <a:moveTo>
                    <a:pt x="16" y="130"/>
                  </a:moveTo>
                  <a:cubicBezTo>
                    <a:pt x="20" y="129"/>
                    <a:pt x="22" y="128"/>
                    <a:pt x="24" y="128"/>
                  </a:cubicBezTo>
                  <a:cubicBezTo>
                    <a:pt x="33" y="127"/>
                    <a:pt x="23" y="123"/>
                    <a:pt x="24" y="122"/>
                  </a:cubicBezTo>
                  <a:cubicBezTo>
                    <a:pt x="25" y="120"/>
                    <a:pt x="27" y="122"/>
                    <a:pt x="28" y="120"/>
                  </a:cubicBezTo>
                  <a:cubicBezTo>
                    <a:pt x="29" y="117"/>
                    <a:pt x="25" y="111"/>
                    <a:pt x="28" y="109"/>
                  </a:cubicBezTo>
                  <a:cubicBezTo>
                    <a:pt x="32" y="106"/>
                    <a:pt x="41" y="107"/>
                    <a:pt x="44" y="106"/>
                  </a:cubicBezTo>
                  <a:cubicBezTo>
                    <a:pt x="48" y="105"/>
                    <a:pt x="46" y="103"/>
                    <a:pt x="49" y="102"/>
                  </a:cubicBezTo>
                  <a:cubicBezTo>
                    <a:pt x="52" y="102"/>
                    <a:pt x="58" y="103"/>
                    <a:pt x="61" y="102"/>
                  </a:cubicBezTo>
                  <a:cubicBezTo>
                    <a:pt x="65" y="101"/>
                    <a:pt x="67" y="98"/>
                    <a:pt x="69" y="95"/>
                  </a:cubicBezTo>
                  <a:cubicBezTo>
                    <a:pt x="70" y="92"/>
                    <a:pt x="71" y="88"/>
                    <a:pt x="73" y="86"/>
                  </a:cubicBezTo>
                  <a:cubicBezTo>
                    <a:pt x="75" y="84"/>
                    <a:pt x="79" y="86"/>
                    <a:pt x="81" y="84"/>
                  </a:cubicBezTo>
                  <a:cubicBezTo>
                    <a:pt x="83" y="83"/>
                    <a:pt x="84" y="80"/>
                    <a:pt x="84" y="78"/>
                  </a:cubicBezTo>
                  <a:cubicBezTo>
                    <a:pt x="85" y="76"/>
                    <a:pt x="82" y="73"/>
                    <a:pt x="83" y="71"/>
                  </a:cubicBezTo>
                  <a:cubicBezTo>
                    <a:pt x="84" y="68"/>
                    <a:pt x="86" y="66"/>
                    <a:pt x="89" y="65"/>
                  </a:cubicBezTo>
                  <a:cubicBezTo>
                    <a:pt x="92" y="64"/>
                    <a:pt x="98" y="68"/>
                    <a:pt x="101" y="65"/>
                  </a:cubicBezTo>
                  <a:cubicBezTo>
                    <a:pt x="104" y="62"/>
                    <a:pt x="100" y="56"/>
                    <a:pt x="100" y="53"/>
                  </a:cubicBezTo>
                  <a:cubicBezTo>
                    <a:pt x="100" y="50"/>
                    <a:pt x="100" y="49"/>
                    <a:pt x="101" y="46"/>
                  </a:cubicBezTo>
                  <a:cubicBezTo>
                    <a:pt x="101" y="44"/>
                    <a:pt x="103" y="43"/>
                    <a:pt x="104" y="39"/>
                  </a:cubicBezTo>
                  <a:cubicBezTo>
                    <a:pt x="105" y="35"/>
                    <a:pt x="105" y="29"/>
                    <a:pt x="105" y="23"/>
                  </a:cubicBezTo>
                  <a:cubicBezTo>
                    <a:pt x="104" y="23"/>
                    <a:pt x="104" y="23"/>
                    <a:pt x="103" y="22"/>
                  </a:cubicBezTo>
                  <a:cubicBezTo>
                    <a:pt x="101" y="21"/>
                    <a:pt x="101" y="15"/>
                    <a:pt x="98" y="13"/>
                  </a:cubicBezTo>
                  <a:cubicBezTo>
                    <a:pt x="95" y="11"/>
                    <a:pt x="91" y="15"/>
                    <a:pt x="88" y="13"/>
                  </a:cubicBezTo>
                  <a:cubicBezTo>
                    <a:pt x="85" y="11"/>
                    <a:pt x="85" y="3"/>
                    <a:pt x="82" y="1"/>
                  </a:cubicBezTo>
                  <a:cubicBezTo>
                    <a:pt x="79" y="0"/>
                    <a:pt x="79" y="6"/>
                    <a:pt x="75" y="6"/>
                  </a:cubicBezTo>
                  <a:cubicBezTo>
                    <a:pt x="71" y="6"/>
                    <a:pt x="63" y="5"/>
                    <a:pt x="58" y="3"/>
                  </a:cubicBezTo>
                  <a:cubicBezTo>
                    <a:pt x="57" y="3"/>
                    <a:pt x="56" y="9"/>
                    <a:pt x="53" y="11"/>
                  </a:cubicBezTo>
                  <a:cubicBezTo>
                    <a:pt x="51" y="12"/>
                    <a:pt x="46" y="10"/>
                    <a:pt x="44" y="13"/>
                  </a:cubicBezTo>
                  <a:cubicBezTo>
                    <a:pt x="41" y="16"/>
                    <a:pt x="43" y="20"/>
                    <a:pt x="40" y="22"/>
                  </a:cubicBezTo>
                  <a:cubicBezTo>
                    <a:pt x="37" y="24"/>
                    <a:pt x="33" y="17"/>
                    <a:pt x="32" y="15"/>
                  </a:cubicBezTo>
                  <a:cubicBezTo>
                    <a:pt x="32" y="15"/>
                    <a:pt x="32" y="15"/>
                    <a:pt x="32" y="15"/>
                  </a:cubicBezTo>
                  <a:cubicBezTo>
                    <a:pt x="30" y="17"/>
                    <a:pt x="28" y="18"/>
                    <a:pt x="28" y="20"/>
                  </a:cubicBezTo>
                  <a:cubicBezTo>
                    <a:pt x="28" y="24"/>
                    <a:pt x="31" y="24"/>
                    <a:pt x="30" y="26"/>
                  </a:cubicBezTo>
                  <a:cubicBezTo>
                    <a:pt x="28" y="28"/>
                    <a:pt x="25" y="26"/>
                    <a:pt x="22" y="27"/>
                  </a:cubicBezTo>
                  <a:cubicBezTo>
                    <a:pt x="19" y="28"/>
                    <a:pt x="14" y="29"/>
                    <a:pt x="12" y="32"/>
                  </a:cubicBezTo>
                  <a:cubicBezTo>
                    <a:pt x="10" y="34"/>
                    <a:pt x="11" y="38"/>
                    <a:pt x="13" y="40"/>
                  </a:cubicBezTo>
                  <a:cubicBezTo>
                    <a:pt x="15" y="42"/>
                    <a:pt x="20" y="39"/>
                    <a:pt x="22" y="40"/>
                  </a:cubicBezTo>
                  <a:cubicBezTo>
                    <a:pt x="24" y="42"/>
                    <a:pt x="22" y="45"/>
                    <a:pt x="23" y="47"/>
                  </a:cubicBezTo>
                  <a:cubicBezTo>
                    <a:pt x="25" y="49"/>
                    <a:pt x="29" y="47"/>
                    <a:pt x="30" y="50"/>
                  </a:cubicBezTo>
                  <a:cubicBezTo>
                    <a:pt x="32" y="53"/>
                    <a:pt x="32" y="58"/>
                    <a:pt x="32" y="61"/>
                  </a:cubicBezTo>
                  <a:cubicBezTo>
                    <a:pt x="32" y="64"/>
                    <a:pt x="30" y="66"/>
                    <a:pt x="29" y="68"/>
                  </a:cubicBezTo>
                  <a:cubicBezTo>
                    <a:pt x="28" y="69"/>
                    <a:pt x="26" y="66"/>
                    <a:pt x="25" y="69"/>
                  </a:cubicBezTo>
                  <a:cubicBezTo>
                    <a:pt x="24" y="71"/>
                    <a:pt x="26" y="76"/>
                    <a:pt x="26" y="79"/>
                  </a:cubicBezTo>
                  <a:cubicBezTo>
                    <a:pt x="25" y="81"/>
                    <a:pt x="25" y="82"/>
                    <a:pt x="22" y="83"/>
                  </a:cubicBezTo>
                  <a:cubicBezTo>
                    <a:pt x="19" y="84"/>
                    <a:pt x="10" y="84"/>
                    <a:pt x="7" y="86"/>
                  </a:cubicBezTo>
                  <a:cubicBezTo>
                    <a:pt x="4" y="88"/>
                    <a:pt x="4" y="90"/>
                    <a:pt x="6" y="92"/>
                  </a:cubicBezTo>
                  <a:cubicBezTo>
                    <a:pt x="8" y="94"/>
                    <a:pt x="14" y="93"/>
                    <a:pt x="16" y="95"/>
                  </a:cubicBezTo>
                  <a:cubicBezTo>
                    <a:pt x="19" y="96"/>
                    <a:pt x="20" y="98"/>
                    <a:pt x="19" y="100"/>
                  </a:cubicBezTo>
                  <a:cubicBezTo>
                    <a:pt x="17" y="101"/>
                    <a:pt x="13" y="99"/>
                    <a:pt x="12" y="101"/>
                  </a:cubicBezTo>
                  <a:cubicBezTo>
                    <a:pt x="10" y="103"/>
                    <a:pt x="12" y="107"/>
                    <a:pt x="10" y="109"/>
                  </a:cubicBezTo>
                  <a:cubicBezTo>
                    <a:pt x="8" y="111"/>
                    <a:pt x="3" y="109"/>
                    <a:pt x="2" y="112"/>
                  </a:cubicBezTo>
                  <a:cubicBezTo>
                    <a:pt x="0" y="114"/>
                    <a:pt x="1" y="119"/>
                    <a:pt x="2" y="121"/>
                  </a:cubicBezTo>
                  <a:cubicBezTo>
                    <a:pt x="4" y="123"/>
                    <a:pt x="8" y="120"/>
                    <a:pt x="10" y="121"/>
                  </a:cubicBezTo>
                  <a:cubicBezTo>
                    <a:pt x="13" y="122"/>
                    <a:pt x="15" y="123"/>
                    <a:pt x="16" y="125"/>
                  </a:cubicBezTo>
                  <a:cubicBezTo>
                    <a:pt x="17" y="127"/>
                    <a:pt x="17" y="128"/>
                    <a:pt x="16" y="13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4" name="Freeform 21"/>
            <p:cNvSpPr>
              <a:spLocks/>
            </p:cNvSpPr>
            <p:nvPr/>
          </p:nvSpPr>
          <p:spPr bwMode="auto">
            <a:xfrm rot="21439583">
              <a:off x="3372990" y="5323439"/>
              <a:ext cx="688076" cy="502351"/>
            </a:xfrm>
            <a:custGeom>
              <a:avLst/>
              <a:gdLst/>
              <a:ahLst/>
              <a:cxnLst>
                <a:cxn ang="0">
                  <a:pos x="29" y="66"/>
                </a:cxn>
                <a:cxn ang="0">
                  <a:pos x="37" y="64"/>
                </a:cxn>
                <a:cxn ang="0">
                  <a:pos x="37" y="58"/>
                </a:cxn>
                <a:cxn ang="0">
                  <a:pos x="41" y="56"/>
                </a:cxn>
                <a:cxn ang="0">
                  <a:pos x="41" y="45"/>
                </a:cxn>
                <a:cxn ang="0">
                  <a:pos x="57" y="42"/>
                </a:cxn>
                <a:cxn ang="0">
                  <a:pos x="62" y="38"/>
                </a:cxn>
                <a:cxn ang="0">
                  <a:pos x="74" y="38"/>
                </a:cxn>
                <a:cxn ang="0">
                  <a:pos x="82" y="31"/>
                </a:cxn>
                <a:cxn ang="0">
                  <a:pos x="86" y="22"/>
                </a:cxn>
                <a:cxn ang="0">
                  <a:pos x="94" y="20"/>
                </a:cxn>
                <a:cxn ang="0">
                  <a:pos x="97" y="14"/>
                </a:cxn>
                <a:cxn ang="0">
                  <a:pos x="96" y="7"/>
                </a:cxn>
                <a:cxn ang="0">
                  <a:pos x="102" y="1"/>
                </a:cxn>
                <a:cxn ang="0">
                  <a:pos x="112" y="2"/>
                </a:cxn>
                <a:cxn ang="0">
                  <a:pos x="114" y="8"/>
                </a:cxn>
                <a:cxn ang="0">
                  <a:pos x="119" y="13"/>
                </a:cxn>
                <a:cxn ang="0">
                  <a:pos x="123" y="20"/>
                </a:cxn>
                <a:cxn ang="0">
                  <a:pos x="118" y="28"/>
                </a:cxn>
                <a:cxn ang="0">
                  <a:pos x="111" y="33"/>
                </a:cxn>
                <a:cxn ang="0">
                  <a:pos x="115" y="40"/>
                </a:cxn>
                <a:cxn ang="0">
                  <a:pos x="116" y="48"/>
                </a:cxn>
                <a:cxn ang="0">
                  <a:pos x="112" y="55"/>
                </a:cxn>
                <a:cxn ang="0">
                  <a:pos x="104" y="54"/>
                </a:cxn>
                <a:cxn ang="0">
                  <a:pos x="104" y="60"/>
                </a:cxn>
                <a:cxn ang="0">
                  <a:pos x="96" y="64"/>
                </a:cxn>
                <a:cxn ang="0">
                  <a:pos x="88" y="70"/>
                </a:cxn>
                <a:cxn ang="0">
                  <a:pos x="82" y="72"/>
                </a:cxn>
                <a:cxn ang="0">
                  <a:pos x="79" y="79"/>
                </a:cxn>
                <a:cxn ang="0">
                  <a:pos x="71" y="80"/>
                </a:cxn>
                <a:cxn ang="0">
                  <a:pos x="69" y="86"/>
                </a:cxn>
                <a:cxn ang="0">
                  <a:pos x="61" y="86"/>
                </a:cxn>
                <a:cxn ang="0">
                  <a:pos x="61" y="92"/>
                </a:cxn>
                <a:cxn ang="0">
                  <a:pos x="52" y="87"/>
                </a:cxn>
                <a:cxn ang="0">
                  <a:pos x="45" y="94"/>
                </a:cxn>
                <a:cxn ang="0">
                  <a:pos x="39" y="98"/>
                </a:cxn>
                <a:cxn ang="0">
                  <a:pos x="31" y="98"/>
                </a:cxn>
                <a:cxn ang="0">
                  <a:pos x="30" y="104"/>
                </a:cxn>
                <a:cxn ang="0">
                  <a:pos x="14" y="104"/>
                </a:cxn>
                <a:cxn ang="0">
                  <a:pos x="5" y="104"/>
                </a:cxn>
                <a:cxn ang="0">
                  <a:pos x="7" y="102"/>
                </a:cxn>
                <a:cxn ang="0">
                  <a:pos x="4" y="96"/>
                </a:cxn>
                <a:cxn ang="0">
                  <a:pos x="0" y="93"/>
                </a:cxn>
                <a:cxn ang="0">
                  <a:pos x="3" y="89"/>
                </a:cxn>
                <a:cxn ang="0">
                  <a:pos x="14" y="90"/>
                </a:cxn>
                <a:cxn ang="0">
                  <a:pos x="15" y="80"/>
                </a:cxn>
                <a:cxn ang="0">
                  <a:pos x="21" y="72"/>
                </a:cxn>
                <a:cxn ang="0">
                  <a:pos x="28" y="68"/>
                </a:cxn>
                <a:cxn ang="0">
                  <a:pos x="29" y="66"/>
                </a:cxn>
              </a:cxnLst>
              <a:rect l="0" t="0" r="r" b="b"/>
              <a:pathLst>
                <a:path w="123" h="106">
                  <a:moveTo>
                    <a:pt x="29" y="66"/>
                  </a:moveTo>
                  <a:cubicBezTo>
                    <a:pt x="33" y="65"/>
                    <a:pt x="35" y="64"/>
                    <a:pt x="37" y="64"/>
                  </a:cubicBezTo>
                  <a:cubicBezTo>
                    <a:pt x="46" y="63"/>
                    <a:pt x="36" y="59"/>
                    <a:pt x="37" y="58"/>
                  </a:cubicBezTo>
                  <a:cubicBezTo>
                    <a:pt x="38" y="56"/>
                    <a:pt x="40" y="58"/>
                    <a:pt x="41" y="56"/>
                  </a:cubicBezTo>
                  <a:cubicBezTo>
                    <a:pt x="42" y="53"/>
                    <a:pt x="38" y="47"/>
                    <a:pt x="41" y="45"/>
                  </a:cubicBezTo>
                  <a:cubicBezTo>
                    <a:pt x="45" y="42"/>
                    <a:pt x="54" y="43"/>
                    <a:pt x="57" y="42"/>
                  </a:cubicBezTo>
                  <a:cubicBezTo>
                    <a:pt x="61" y="41"/>
                    <a:pt x="59" y="39"/>
                    <a:pt x="62" y="38"/>
                  </a:cubicBezTo>
                  <a:cubicBezTo>
                    <a:pt x="65" y="38"/>
                    <a:pt x="71" y="39"/>
                    <a:pt x="74" y="38"/>
                  </a:cubicBezTo>
                  <a:cubicBezTo>
                    <a:pt x="78" y="37"/>
                    <a:pt x="80" y="34"/>
                    <a:pt x="82" y="31"/>
                  </a:cubicBezTo>
                  <a:cubicBezTo>
                    <a:pt x="83" y="28"/>
                    <a:pt x="84" y="24"/>
                    <a:pt x="86" y="22"/>
                  </a:cubicBezTo>
                  <a:cubicBezTo>
                    <a:pt x="88" y="20"/>
                    <a:pt x="92" y="22"/>
                    <a:pt x="94" y="20"/>
                  </a:cubicBezTo>
                  <a:cubicBezTo>
                    <a:pt x="96" y="19"/>
                    <a:pt x="97" y="16"/>
                    <a:pt x="97" y="14"/>
                  </a:cubicBezTo>
                  <a:cubicBezTo>
                    <a:pt x="98" y="12"/>
                    <a:pt x="95" y="9"/>
                    <a:pt x="96" y="7"/>
                  </a:cubicBezTo>
                  <a:cubicBezTo>
                    <a:pt x="97" y="4"/>
                    <a:pt x="99" y="2"/>
                    <a:pt x="102" y="1"/>
                  </a:cubicBezTo>
                  <a:cubicBezTo>
                    <a:pt x="105" y="0"/>
                    <a:pt x="109" y="2"/>
                    <a:pt x="112" y="2"/>
                  </a:cubicBezTo>
                  <a:cubicBezTo>
                    <a:pt x="113" y="4"/>
                    <a:pt x="113" y="7"/>
                    <a:pt x="114" y="8"/>
                  </a:cubicBezTo>
                  <a:cubicBezTo>
                    <a:pt x="116" y="12"/>
                    <a:pt x="118" y="10"/>
                    <a:pt x="119" y="13"/>
                  </a:cubicBezTo>
                  <a:cubicBezTo>
                    <a:pt x="121" y="15"/>
                    <a:pt x="123" y="17"/>
                    <a:pt x="123" y="20"/>
                  </a:cubicBezTo>
                  <a:cubicBezTo>
                    <a:pt x="122" y="23"/>
                    <a:pt x="120" y="26"/>
                    <a:pt x="118" y="28"/>
                  </a:cubicBezTo>
                  <a:cubicBezTo>
                    <a:pt x="116" y="30"/>
                    <a:pt x="112" y="30"/>
                    <a:pt x="111" y="33"/>
                  </a:cubicBezTo>
                  <a:cubicBezTo>
                    <a:pt x="110" y="35"/>
                    <a:pt x="114" y="37"/>
                    <a:pt x="115" y="40"/>
                  </a:cubicBezTo>
                  <a:cubicBezTo>
                    <a:pt x="116" y="42"/>
                    <a:pt x="116" y="45"/>
                    <a:pt x="116" y="48"/>
                  </a:cubicBezTo>
                  <a:cubicBezTo>
                    <a:pt x="115" y="51"/>
                    <a:pt x="114" y="54"/>
                    <a:pt x="112" y="55"/>
                  </a:cubicBezTo>
                  <a:cubicBezTo>
                    <a:pt x="110" y="56"/>
                    <a:pt x="106" y="53"/>
                    <a:pt x="104" y="54"/>
                  </a:cubicBezTo>
                  <a:cubicBezTo>
                    <a:pt x="102" y="55"/>
                    <a:pt x="105" y="58"/>
                    <a:pt x="104" y="60"/>
                  </a:cubicBezTo>
                  <a:cubicBezTo>
                    <a:pt x="102" y="62"/>
                    <a:pt x="98" y="62"/>
                    <a:pt x="96" y="64"/>
                  </a:cubicBezTo>
                  <a:cubicBezTo>
                    <a:pt x="93" y="66"/>
                    <a:pt x="91" y="69"/>
                    <a:pt x="88" y="70"/>
                  </a:cubicBezTo>
                  <a:cubicBezTo>
                    <a:pt x="86" y="72"/>
                    <a:pt x="84" y="71"/>
                    <a:pt x="82" y="72"/>
                  </a:cubicBezTo>
                  <a:cubicBezTo>
                    <a:pt x="81" y="74"/>
                    <a:pt x="81" y="77"/>
                    <a:pt x="79" y="79"/>
                  </a:cubicBezTo>
                  <a:cubicBezTo>
                    <a:pt x="76" y="80"/>
                    <a:pt x="73" y="78"/>
                    <a:pt x="71" y="80"/>
                  </a:cubicBezTo>
                  <a:cubicBezTo>
                    <a:pt x="69" y="81"/>
                    <a:pt x="71" y="85"/>
                    <a:pt x="69" y="86"/>
                  </a:cubicBezTo>
                  <a:cubicBezTo>
                    <a:pt x="67" y="88"/>
                    <a:pt x="63" y="84"/>
                    <a:pt x="61" y="86"/>
                  </a:cubicBezTo>
                  <a:cubicBezTo>
                    <a:pt x="59" y="87"/>
                    <a:pt x="63" y="92"/>
                    <a:pt x="61" y="92"/>
                  </a:cubicBezTo>
                  <a:cubicBezTo>
                    <a:pt x="58" y="93"/>
                    <a:pt x="55" y="87"/>
                    <a:pt x="52" y="87"/>
                  </a:cubicBezTo>
                  <a:cubicBezTo>
                    <a:pt x="49" y="87"/>
                    <a:pt x="47" y="92"/>
                    <a:pt x="45" y="94"/>
                  </a:cubicBezTo>
                  <a:cubicBezTo>
                    <a:pt x="43" y="96"/>
                    <a:pt x="42" y="98"/>
                    <a:pt x="39" y="98"/>
                  </a:cubicBezTo>
                  <a:cubicBezTo>
                    <a:pt x="37" y="99"/>
                    <a:pt x="33" y="97"/>
                    <a:pt x="31" y="98"/>
                  </a:cubicBezTo>
                  <a:cubicBezTo>
                    <a:pt x="29" y="99"/>
                    <a:pt x="33" y="103"/>
                    <a:pt x="30" y="104"/>
                  </a:cubicBezTo>
                  <a:cubicBezTo>
                    <a:pt x="26" y="106"/>
                    <a:pt x="19" y="104"/>
                    <a:pt x="14" y="104"/>
                  </a:cubicBezTo>
                  <a:cubicBezTo>
                    <a:pt x="11" y="104"/>
                    <a:pt x="8" y="104"/>
                    <a:pt x="5" y="104"/>
                  </a:cubicBezTo>
                  <a:cubicBezTo>
                    <a:pt x="6" y="103"/>
                    <a:pt x="7" y="103"/>
                    <a:pt x="7" y="102"/>
                  </a:cubicBezTo>
                  <a:cubicBezTo>
                    <a:pt x="11" y="99"/>
                    <a:pt x="5" y="98"/>
                    <a:pt x="4" y="96"/>
                  </a:cubicBezTo>
                  <a:cubicBezTo>
                    <a:pt x="2" y="95"/>
                    <a:pt x="0" y="95"/>
                    <a:pt x="0" y="93"/>
                  </a:cubicBezTo>
                  <a:cubicBezTo>
                    <a:pt x="0" y="91"/>
                    <a:pt x="0" y="90"/>
                    <a:pt x="3" y="89"/>
                  </a:cubicBezTo>
                  <a:cubicBezTo>
                    <a:pt x="6" y="89"/>
                    <a:pt x="11" y="92"/>
                    <a:pt x="14" y="90"/>
                  </a:cubicBezTo>
                  <a:cubicBezTo>
                    <a:pt x="17" y="88"/>
                    <a:pt x="14" y="83"/>
                    <a:pt x="15" y="80"/>
                  </a:cubicBezTo>
                  <a:cubicBezTo>
                    <a:pt x="16" y="77"/>
                    <a:pt x="19" y="74"/>
                    <a:pt x="21" y="72"/>
                  </a:cubicBezTo>
                  <a:cubicBezTo>
                    <a:pt x="23" y="70"/>
                    <a:pt x="27" y="70"/>
                    <a:pt x="28" y="68"/>
                  </a:cubicBezTo>
                  <a:cubicBezTo>
                    <a:pt x="29" y="67"/>
                    <a:pt x="29" y="67"/>
                    <a:pt x="29" y="6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5" name="Freeform 24"/>
            <p:cNvSpPr>
              <a:spLocks noEditPoints="1"/>
            </p:cNvSpPr>
            <p:nvPr/>
          </p:nvSpPr>
          <p:spPr bwMode="auto">
            <a:xfrm rot="21439583">
              <a:off x="3976640" y="4919448"/>
              <a:ext cx="296033" cy="664125"/>
            </a:xfrm>
            <a:custGeom>
              <a:avLst/>
              <a:gdLst/>
              <a:ahLst/>
              <a:cxnLst>
                <a:cxn ang="0">
                  <a:pos x="45" y="7"/>
                </a:cxn>
                <a:cxn ang="0">
                  <a:pos x="49" y="13"/>
                </a:cxn>
                <a:cxn ang="0">
                  <a:pos x="51" y="21"/>
                </a:cxn>
                <a:cxn ang="0">
                  <a:pos x="52" y="30"/>
                </a:cxn>
                <a:cxn ang="0">
                  <a:pos x="45" y="33"/>
                </a:cxn>
                <a:cxn ang="0">
                  <a:pos x="38" y="43"/>
                </a:cxn>
                <a:cxn ang="0">
                  <a:pos x="35" y="53"/>
                </a:cxn>
                <a:cxn ang="0">
                  <a:pos x="37" y="64"/>
                </a:cxn>
                <a:cxn ang="0">
                  <a:pos x="43" y="74"/>
                </a:cxn>
                <a:cxn ang="0">
                  <a:pos x="45" y="84"/>
                </a:cxn>
                <a:cxn ang="0">
                  <a:pos x="39" y="97"/>
                </a:cxn>
                <a:cxn ang="0">
                  <a:pos x="33" y="105"/>
                </a:cxn>
                <a:cxn ang="0">
                  <a:pos x="28" y="113"/>
                </a:cxn>
                <a:cxn ang="0">
                  <a:pos x="38" y="124"/>
                </a:cxn>
                <a:cxn ang="0">
                  <a:pos x="38" y="139"/>
                </a:cxn>
                <a:cxn ang="0">
                  <a:pos x="35" y="139"/>
                </a:cxn>
                <a:cxn ang="0">
                  <a:pos x="29" y="139"/>
                </a:cxn>
                <a:cxn ang="0">
                  <a:pos x="24" y="136"/>
                </a:cxn>
                <a:cxn ang="0">
                  <a:pos x="25" y="124"/>
                </a:cxn>
                <a:cxn ang="0">
                  <a:pos x="16" y="122"/>
                </a:cxn>
                <a:cxn ang="0">
                  <a:pos x="5" y="124"/>
                </a:cxn>
                <a:cxn ang="0">
                  <a:pos x="5" y="122"/>
                </a:cxn>
                <a:cxn ang="0">
                  <a:pos x="1" y="115"/>
                </a:cxn>
                <a:cxn ang="0">
                  <a:pos x="8" y="110"/>
                </a:cxn>
                <a:cxn ang="0">
                  <a:pos x="13" y="102"/>
                </a:cxn>
                <a:cxn ang="0">
                  <a:pos x="9" y="95"/>
                </a:cxn>
                <a:cxn ang="0">
                  <a:pos x="4" y="90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4" y="83"/>
                </a:cxn>
                <a:cxn ang="0">
                  <a:pos x="3" y="71"/>
                </a:cxn>
                <a:cxn ang="0">
                  <a:pos x="4" y="64"/>
                </a:cxn>
                <a:cxn ang="0">
                  <a:pos x="7" y="57"/>
                </a:cxn>
                <a:cxn ang="0">
                  <a:pos x="8" y="41"/>
                </a:cxn>
                <a:cxn ang="0">
                  <a:pos x="13" y="38"/>
                </a:cxn>
                <a:cxn ang="0">
                  <a:pos x="18" y="27"/>
                </a:cxn>
                <a:cxn ang="0">
                  <a:pos x="18" y="13"/>
                </a:cxn>
                <a:cxn ang="0">
                  <a:pos x="16" y="2"/>
                </a:cxn>
                <a:cxn ang="0">
                  <a:pos x="22" y="2"/>
                </a:cxn>
                <a:cxn ang="0">
                  <a:pos x="26" y="11"/>
                </a:cxn>
                <a:cxn ang="0">
                  <a:pos x="38" y="10"/>
                </a:cxn>
                <a:cxn ang="0">
                  <a:pos x="45" y="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6" y="128"/>
                </a:cxn>
                <a:cxn ang="0">
                  <a:pos x="6" y="127"/>
                </a:cxn>
                <a:cxn ang="0">
                  <a:pos x="5" y="124"/>
                </a:cxn>
                <a:cxn ang="0">
                  <a:pos x="6" y="127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2" y="84"/>
                </a:cxn>
                <a:cxn ang="0">
                  <a:pos x="7" y="41"/>
                </a:cxn>
                <a:cxn ang="0">
                  <a:pos x="7" y="41"/>
                </a:cxn>
                <a:cxn ang="0">
                  <a:pos x="7" y="41"/>
                </a:cxn>
              </a:cxnLst>
              <a:rect l="0" t="0" r="r" b="b"/>
              <a:pathLst>
                <a:path w="53" h="140">
                  <a:moveTo>
                    <a:pt x="45" y="7"/>
                  </a:moveTo>
                  <a:cubicBezTo>
                    <a:pt x="47" y="9"/>
                    <a:pt x="48" y="12"/>
                    <a:pt x="49" y="13"/>
                  </a:cubicBezTo>
                  <a:cubicBezTo>
                    <a:pt x="53" y="20"/>
                    <a:pt x="51" y="19"/>
                    <a:pt x="51" y="21"/>
                  </a:cubicBezTo>
                  <a:cubicBezTo>
                    <a:pt x="52" y="24"/>
                    <a:pt x="53" y="28"/>
                    <a:pt x="52" y="30"/>
                  </a:cubicBezTo>
                  <a:cubicBezTo>
                    <a:pt x="50" y="33"/>
                    <a:pt x="47" y="30"/>
                    <a:pt x="45" y="33"/>
                  </a:cubicBezTo>
                  <a:cubicBezTo>
                    <a:pt x="42" y="35"/>
                    <a:pt x="39" y="41"/>
                    <a:pt x="38" y="43"/>
                  </a:cubicBezTo>
                  <a:cubicBezTo>
                    <a:pt x="37" y="45"/>
                    <a:pt x="35" y="51"/>
                    <a:pt x="35" y="53"/>
                  </a:cubicBezTo>
                  <a:cubicBezTo>
                    <a:pt x="35" y="55"/>
                    <a:pt x="36" y="63"/>
                    <a:pt x="37" y="64"/>
                  </a:cubicBezTo>
                  <a:cubicBezTo>
                    <a:pt x="38" y="66"/>
                    <a:pt x="42" y="70"/>
                    <a:pt x="43" y="74"/>
                  </a:cubicBezTo>
                  <a:cubicBezTo>
                    <a:pt x="45" y="77"/>
                    <a:pt x="45" y="80"/>
                    <a:pt x="45" y="84"/>
                  </a:cubicBezTo>
                  <a:cubicBezTo>
                    <a:pt x="44" y="88"/>
                    <a:pt x="41" y="94"/>
                    <a:pt x="39" y="97"/>
                  </a:cubicBezTo>
                  <a:cubicBezTo>
                    <a:pt x="37" y="101"/>
                    <a:pt x="35" y="102"/>
                    <a:pt x="33" y="105"/>
                  </a:cubicBezTo>
                  <a:cubicBezTo>
                    <a:pt x="31" y="107"/>
                    <a:pt x="27" y="109"/>
                    <a:pt x="28" y="113"/>
                  </a:cubicBezTo>
                  <a:cubicBezTo>
                    <a:pt x="29" y="117"/>
                    <a:pt x="36" y="119"/>
                    <a:pt x="38" y="124"/>
                  </a:cubicBezTo>
                  <a:cubicBezTo>
                    <a:pt x="40" y="129"/>
                    <a:pt x="39" y="135"/>
                    <a:pt x="38" y="139"/>
                  </a:cubicBezTo>
                  <a:cubicBezTo>
                    <a:pt x="37" y="139"/>
                    <a:pt x="36" y="139"/>
                    <a:pt x="35" y="139"/>
                  </a:cubicBezTo>
                  <a:cubicBezTo>
                    <a:pt x="33" y="139"/>
                    <a:pt x="31" y="140"/>
                    <a:pt x="29" y="139"/>
                  </a:cubicBezTo>
                  <a:cubicBezTo>
                    <a:pt x="27" y="139"/>
                    <a:pt x="25" y="138"/>
                    <a:pt x="24" y="136"/>
                  </a:cubicBezTo>
                  <a:cubicBezTo>
                    <a:pt x="23" y="133"/>
                    <a:pt x="27" y="127"/>
                    <a:pt x="25" y="124"/>
                  </a:cubicBezTo>
                  <a:cubicBezTo>
                    <a:pt x="23" y="121"/>
                    <a:pt x="21" y="121"/>
                    <a:pt x="16" y="122"/>
                  </a:cubicBezTo>
                  <a:cubicBezTo>
                    <a:pt x="13" y="123"/>
                    <a:pt x="9" y="123"/>
                    <a:pt x="5" y="124"/>
                  </a:cubicBezTo>
                  <a:cubicBezTo>
                    <a:pt x="5" y="123"/>
                    <a:pt x="5" y="123"/>
                    <a:pt x="5" y="122"/>
                  </a:cubicBezTo>
                  <a:cubicBezTo>
                    <a:pt x="4" y="119"/>
                    <a:pt x="0" y="117"/>
                    <a:pt x="1" y="115"/>
                  </a:cubicBezTo>
                  <a:cubicBezTo>
                    <a:pt x="2" y="112"/>
                    <a:pt x="6" y="112"/>
                    <a:pt x="8" y="110"/>
                  </a:cubicBezTo>
                  <a:cubicBezTo>
                    <a:pt x="10" y="108"/>
                    <a:pt x="12" y="105"/>
                    <a:pt x="13" y="102"/>
                  </a:cubicBezTo>
                  <a:cubicBezTo>
                    <a:pt x="13" y="99"/>
                    <a:pt x="11" y="97"/>
                    <a:pt x="9" y="95"/>
                  </a:cubicBezTo>
                  <a:cubicBezTo>
                    <a:pt x="8" y="92"/>
                    <a:pt x="6" y="94"/>
                    <a:pt x="4" y="90"/>
                  </a:cubicBezTo>
                  <a:cubicBezTo>
                    <a:pt x="3" y="89"/>
                    <a:pt x="3" y="86"/>
                    <a:pt x="2" y="84"/>
                  </a:cubicBezTo>
                  <a:lnTo>
                    <a:pt x="2" y="84"/>
                  </a:lnTo>
                  <a:cubicBezTo>
                    <a:pt x="3" y="84"/>
                    <a:pt x="3" y="83"/>
                    <a:pt x="4" y="83"/>
                  </a:cubicBezTo>
                  <a:cubicBezTo>
                    <a:pt x="7" y="80"/>
                    <a:pt x="3" y="74"/>
                    <a:pt x="3" y="71"/>
                  </a:cubicBezTo>
                  <a:cubicBezTo>
                    <a:pt x="3" y="68"/>
                    <a:pt x="3" y="67"/>
                    <a:pt x="4" y="64"/>
                  </a:cubicBezTo>
                  <a:cubicBezTo>
                    <a:pt x="4" y="62"/>
                    <a:pt x="6" y="61"/>
                    <a:pt x="7" y="57"/>
                  </a:cubicBezTo>
                  <a:cubicBezTo>
                    <a:pt x="8" y="53"/>
                    <a:pt x="8" y="47"/>
                    <a:pt x="8" y="41"/>
                  </a:cubicBezTo>
                  <a:cubicBezTo>
                    <a:pt x="8" y="41"/>
                    <a:pt x="11" y="40"/>
                    <a:pt x="13" y="38"/>
                  </a:cubicBezTo>
                  <a:cubicBezTo>
                    <a:pt x="15" y="35"/>
                    <a:pt x="17" y="32"/>
                    <a:pt x="18" y="27"/>
                  </a:cubicBezTo>
                  <a:cubicBezTo>
                    <a:pt x="19" y="23"/>
                    <a:pt x="18" y="18"/>
                    <a:pt x="18" y="13"/>
                  </a:cubicBezTo>
                  <a:cubicBezTo>
                    <a:pt x="18" y="9"/>
                    <a:pt x="15" y="5"/>
                    <a:pt x="16" y="2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4" y="4"/>
                    <a:pt x="23" y="9"/>
                    <a:pt x="26" y="11"/>
                  </a:cubicBezTo>
                  <a:cubicBezTo>
                    <a:pt x="29" y="12"/>
                    <a:pt x="36" y="10"/>
                    <a:pt x="38" y="10"/>
                  </a:cubicBezTo>
                  <a:cubicBezTo>
                    <a:pt x="39" y="10"/>
                    <a:pt x="42" y="8"/>
                    <a:pt x="45" y="7"/>
                  </a:cubicBezTo>
                  <a:close/>
                  <a:moveTo>
                    <a:pt x="6" y="128"/>
                  </a:moveTo>
                  <a:cubicBezTo>
                    <a:pt x="6" y="128"/>
                    <a:pt x="6" y="128"/>
                    <a:pt x="6" y="127"/>
                  </a:cubicBezTo>
                  <a:cubicBezTo>
                    <a:pt x="6" y="128"/>
                    <a:pt x="6" y="128"/>
                    <a:pt x="6" y="128"/>
                  </a:cubicBezTo>
                  <a:close/>
                  <a:moveTo>
                    <a:pt x="6" y="127"/>
                  </a:moveTo>
                  <a:cubicBezTo>
                    <a:pt x="6" y="126"/>
                    <a:pt x="6" y="125"/>
                    <a:pt x="5" y="124"/>
                  </a:cubicBezTo>
                  <a:cubicBezTo>
                    <a:pt x="6" y="125"/>
                    <a:pt x="6" y="126"/>
                    <a:pt x="6" y="127"/>
                  </a:cubicBezTo>
                  <a:close/>
                  <a:moveTo>
                    <a:pt x="2" y="84"/>
                  </a:moveTo>
                  <a:cubicBezTo>
                    <a:pt x="2" y="84"/>
                    <a:pt x="2" y="84"/>
                    <a:pt x="2" y="84"/>
                  </a:cubicBezTo>
                  <a:cubicBezTo>
                    <a:pt x="2" y="84"/>
                    <a:pt x="2" y="84"/>
                    <a:pt x="2" y="84"/>
                  </a:cubicBezTo>
                  <a:close/>
                  <a:moveTo>
                    <a:pt x="7" y="41"/>
                  </a:moveTo>
                  <a:cubicBezTo>
                    <a:pt x="7" y="41"/>
                    <a:pt x="7" y="41"/>
                    <a:pt x="7" y="41"/>
                  </a:cubicBezTo>
                  <a:cubicBezTo>
                    <a:pt x="7" y="41"/>
                    <a:pt x="7" y="41"/>
                    <a:pt x="7" y="4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6" name="Freeform 25"/>
            <p:cNvSpPr>
              <a:spLocks noEditPoints="1"/>
            </p:cNvSpPr>
            <p:nvPr/>
          </p:nvSpPr>
          <p:spPr bwMode="auto">
            <a:xfrm rot="21439583">
              <a:off x="4380244" y="5896375"/>
              <a:ext cx="786088" cy="556842"/>
            </a:xfrm>
            <a:custGeom>
              <a:avLst/>
              <a:gdLst/>
              <a:ahLst/>
              <a:cxnLst>
                <a:cxn ang="0">
                  <a:pos x="141" y="53"/>
                </a:cxn>
                <a:cxn ang="0">
                  <a:pos x="131" y="59"/>
                </a:cxn>
                <a:cxn ang="0">
                  <a:pos x="128" y="68"/>
                </a:cxn>
                <a:cxn ang="0">
                  <a:pos x="125" y="78"/>
                </a:cxn>
                <a:cxn ang="0">
                  <a:pos x="117" y="88"/>
                </a:cxn>
                <a:cxn ang="0">
                  <a:pos x="114" y="96"/>
                </a:cxn>
                <a:cxn ang="0">
                  <a:pos x="104" y="105"/>
                </a:cxn>
                <a:cxn ang="0">
                  <a:pos x="91" y="114"/>
                </a:cxn>
                <a:cxn ang="0">
                  <a:pos x="89" y="115"/>
                </a:cxn>
                <a:cxn ang="0">
                  <a:pos x="17" y="108"/>
                </a:cxn>
                <a:cxn ang="0">
                  <a:pos x="20" y="109"/>
                </a:cxn>
                <a:cxn ang="0">
                  <a:pos x="18" y="97"/>
                </a:cxn>
                <a:cxn ang="0">
                  <a:pos x="25" y="94"/>
                </a:cxn>
                <a:cxn ang="0">
                  <a:pos x="27" y="81"/>
                </a:cxn>
                <a:cxn ang="0">
                  <a:pos x="18" y="76"/>
                </a:cxn>
                <a:cxn ang="0">
                  <a:pos x="16" y="68"/>
                </a:cxn>
                <a:cxn ang="0">
                  <a:pos x="8" y="65"/>
                </a:cxn>
                <a:cxn ang="0">
                  <a:pos x="4" y="60"/>
                </a:cxn>
                <a:cxn ang="0">
                  <a:pos x="19" y="56"/>
                </a:cxn>
                <a:cxn ang="0">
                  <a:pos x="4" y="40"/>
                </a:cxn>
                <a:cxn ang="0">
                  <a:pos x="6" y="33"/>
                </a:cxn>
                <a:cxn ang="0">
                  <a:pos x="11" y="27"/>
                </a:cxn>
                <a:cxn ang="0">
                  <a:pos x="12" y="9"/>
                </a:cxn>
                <a:cxn ang="0">
                  <a:pos x="18" y="2"/>
                </a:cxn>
                <a:cxn ang="0">
                  <a:pos x="39" y="1"/>
                </a:cxn>
                <a:cxn ang="0">
                  <a:pos x="40" y="6"/>
                </a:cxn>
                <a:cxn ang="0">
                  <a:pos x="34" y="11"/>
                </a:cxn>
                <a:cxn ang="0">
                  <a:pos x="35" y="20"/>
                </a:cxn>
                <a:cxn ang="0">
                  <a:pos x="41" y="20"/>
                </a:cxn>
                <a:cxn ang="0">
                  <a:pos x="45" y="26"/>
                </a:cxn>
                <a:cxn ang="0">
                  <a:pos x="44" y="32"/>
                </a:cxn>
                <a:cxn ang="0">
                  <a:pos x="53" y="45"/>
                </a:cxn>
                <a:cxn ang="0">
                  <a:pos x="59" y="51"/>
                </a:cxn>
                <a:cxn ang="0">
                  <a:pos x="63" y="57"/>
                </a:cxn>
                <a:cxn ang="0">
                  <a:pos x="71" y="58"/>
                </a:cxn>
                <a:cxn ang="0">
                  <a:pos x="79" y="51"/>
                </a:cxn>
                <a:cxn ang="0">
                  <a:pos x="80" y="44"/>
                </a:cxn>
                <a:cxn ang="0">
                  <a:pos x="86" y="39"/>
                </a:cxn>
                <a:cxn ang="0">
                  <a:pos x="91" y="43"/>
                </a:cxn>
                <a:cxn ang="0">
                  <a:pos x="107" y="40"/>
                </a:cxn>
                <a:cxn ang="0">
                  <a:pos x="111" y="47"/>
                </a:cxn>
                <a:cxn ang="0">
                  <a:pos x="118" y="56"/>
                </a:cxn>
                <a:cxn ang="0">
                  <a:pos x="128" y="53"/>
                </a:cxn>
                <a:cxn ang="0">
                  <a:pos x="141" y="53"/>
                </a:cxn>
                <a:cxn ang="0">
                  <a:pos x="1" y="62"/>
                </a:cxn>
                <a:cxn ang="0">
                  <a:pos x="1" y="62"/>
                </a:cxn>
              </a:cxnLst>
              <a:rect l="0" t="0" r="r" b="b"/>
              <a:pathLst>
                <a:path w="141" h="117">
                  <a:moveTo>
                    <a:pt x="141" y="53"/>
                  </a:moveTo>
                  <a:cubicBezTo>
                    <a:pt x="138" y="55"/>
                    <a:pt x="134" y="57"/>
                    <a:pt x="131" y="59"/>
                  </a:cubicBezTo>
                  <a:cubicBezTo>
                    <a:pt x="129" y="62"/>
                    <a:pt x="129" y="65"/>
                    <a:pt x="128" y="68"/>
                  </a:cubicBezTo>
                  <a:cubicBezTo>
                    <a:pt x="127" y="71"/>
                    <a:pt x="127" y="75"/>
                    <a:pt x="125" y="78"/>
                  </a:cubicBezTo>
                  <a:cubicBezTo>
                    <a:pt x="123" y="81"/>
                    <a:pt x="119" y="85"/>
                    <a:pt x="117" y="88"/>
                  </a:cubicBezTo>
                  <a:cubicBezTo>
                    <a:pt x="115" y="91"/>
                    <a:pt x="116" y="93"/>
                    <a:pt x="114" y="96"/>
                  </a:cubicBezTo>
                  <a:cubicBezTo>
                    <a:pt x="112" y="99"/>
                    <a:pt x="108" y="102"/>
                    <a:pt x="104" y="105"/>
                  </a:cubicBezTo>
                  <a:cubicBezTo>
                    <a:pt x="101" y="108"/>
                    <a:pt x="95" y="112"/>
                    <a:pt x="91" y="114"/>
                  </a:cubicBezTo>
                  <a:cubicBezTo>
                    <a:pt x="88" y="115"/>
                    <a:pt x="83" y="117"/>
                    <a:pt x="89" y="115"/>
                  </a:cubicBezTo>
                  <a:cubicBezTo>
                    <a:pt x="75" y="110"/>
                    <a:pt x="32" y="110"/>
                    <a:pt x="17" y="108"/>
                  </a:cubicBezTo>
                  <a:cubicBezTo>
                    <a:pt x="18" y="108"/>
                    <a:pt x="19" y="109"/>
                    <a:pt x="20" y="109"/>
                  </a:cubicBezTo>
                  <a:cubicBezTo>
                    <a:pt x="21" y="105"/>
                    <a:pt x="17" y="99"/>
                    <a:pt x="18" y="97"/>
                  </a:cubicBezTo>
                  <a:cubicBezTo>
                    <a:pt x="20" y="93"/>
                    <a:pt x="24" y="97"/>
                    <a:pt x="25" y="94"/>
                  </a:cubicBezTo>
                  <a:cubicBezTo>
                    <a:pt x="27" y="91"/>
                    <a:pt x="28" y="85"/>
                    <a:pt x="27" y="81"/>
                  </a:cubicBezTo>
                  <a:cubicBezTo>
                    <a:pt x="25" y="78"/>
                    <a:pt x="20" y="79"/>
                    <a:pt x="18" y="76"/>
                  </a:cubicBezTo>
                  <a:cubicBezTo>
                    <a:pt x="17" y="74"/>
                    <a:pt x="18" y="70"/>
                    <a:pt x="16" y="68"/>
                  </a:cubicBezTo>
                  <a:cubicBezTo>
                    <a:pt x="14" y="66"/>
                    <a:pt x="11" y="67"/>
                    <a:pt x="8" y="65"/>
                  </a:cubicBezTo>
                  <a:cubicBezTo>
                    <a:pt x="6" y="64"/>
                    <a:pt x="5" y="62"/>
                    <a:pt x="4" y="60"/>
                  </a:cubicBezTo>
                  <a:cubicBezTo>
                    <a:pt x="4" y="60"/>
                    <a:pt x="18" y="62"/>
                    <a:pt x="19" y="56"/>
                  </a:cubicBezTo>
                  <a:cubicBezTo>
                    <a:pt x="20" y="49"/>
                    <a:pt x="14" y="41"/>
                    <a:pt x="4" y="40"/>
                  </a:cubicBezTo>
                  <a:cubicBezTo>
                    <a:pt x="5" y="38"/>
                    <a:pt x="6" y="35"/>
                    <a:pt x="6" y="33"/>
                  </a:cubicBezTo>
                  <a:cubicBezTo>
                    <a:pt x="6" y="27"/>
                    <a:pt x="6" y="31"/>
                    <a:pt x="11" y="27"/>
                  </a:cubicBezTo>
                  <a:cubicBezTo>
                    <a:pt x="16" y="23"/>
                    <a:pt x="10" y="14"/>
                    <a:pt x="12" y="9"/>
                  </a:cubicBezTo>
                  <a:cubicBezTo>
                    <a:pt x="13" y="5"/>
                    <a:pt x="14" y="3"/>
                    <a:pt x="18" y="2"/>
                  </a:cubicBezTo>
                  <a:cubicBezTo>
                    <a:pt x="23" y="0"/>
                    <a:pt x="35" y="0"/>
                    <a:pt x="39" y="1"/>
                  </a:cubicBezTo>
                  <a:cubicBezTo>
                    <a:pt x="43" y="2"/>
                    <a:pt x="41" y="4"/>
                    <a:pt x="40" y="6"/>
                  </a:cubicBezTo>
                  <a:cubicBezTo>
                    <a:pt x="39" y="8"/>
                    <a:pt x="35" y="9"/>
                    <a:pt x="34" y="11"/>
                  </a:cubicBezTo>
                  <a:cubicBezTo>
                    <a:pt x="33" y="14"/>
                    <a:pt x="33" y="18"/>
                    <a:pt x="35" y="20"/>
                  </a:cubicBezTo>
                  <a:cubicBezTo>
                    <a:pt x="36" y="21"/>
                    <a:pt x="39" y="19"/>
                    <a:pt x="41" y="20"/>
                  </a:cubicBezTo>
                  <a:cubicBezTo>
                    <a:pt x="43" y="21"/>
                    <a:pt x="44" y="24"/>
                    <a:pt x="45" y="26"/>
                  </a:cubicBezTo>
                  <a:cubicBezTo>
                    <a:pt x="45" y="28"/>
                    <a:pt x="42" y="29"/>
                    <a:pt x="44" y="32"/>
                  </a:cubicBezTo>
                  <a:cubicBezTo>
                    <a:pt x="45" y="35"/>
                    <a:pt x="51" y="42"/>
                    <a:pt x="53" y="45"/>
                  </a:cubicBezTo>
                  <a:cubicBezTo>
                    <a:pt x="56" y="48"/>
                    <a:pt x="57" y="49"/>
                    <a:pt x="59" y="51"/>
                  </a:cubicBezTo>
                  <a:cubicBezTo>
                    <a:pt x="61" y="53"/>
                    <a:pt x="61" y="55"/>
                    <a:pt x="63" y="57"/>
                  </a:cubicBezTo>
                  <a:cubicBezTo>
                    <a:pt x="66" y="58"/>
                    <a:pt x="69" y="59"/>
                    <a:pt x="71" y="58"/>
                  </a:cubicBezTo>
                  <a:cubicBezTo>
                    <a:pt x="74" y="56"/>
                    <a:pt x="77" y="53"/>
                    <a:pt x="79" y="51"/>
                  </a:cubicBezTo>
                  <a:cubicBezTo>
                    <a:pt x="80" y="48"/>
                    <a:pt x="79" y="46"/>
                    <a:pt x="80" y="44"/>
                  </a:cubicBezTo>
                  <a:cubicBezTo>
                    <a:pt x="82" y="42"/>
                    <a:pt x="84" y="40"/>
                    <a:pt x="86" y="39"/>
                  </a:cubicBezTo>
                  <a:cubicBezTo>
                    <a:pt x="87" y="40"/>
                    <a:pt x="89" y="42"/>
                    <a:pt x="91" y="43"/>
                  </a:cubicBezTo>
                  <a:cubicBezTo>
                    <a:pt x="96" y="44"/>
                    <a:pt x="103" y="39"/>
                    <a:pt x="107" y="40"/>
                  </a:cubicBezTo>
                  <a:cubicBezTo>
                    <a:pt x="111" y="41"/>
                    <a:pt x="109" y="45"/>
                    <a:pt x="111" y="47"/>
                  </a:cubicBezTo>
                  <a:cubicBezTo>
                    <a:pt x="113" y="50"/>
                    <a:pt x="115" y="55"/>
                    <a:pt x="118" y="56"/>
                  </a:cubicBezTo>
                  <a:cubicBezTo>
                    <a:pt x="122" y="57"/>
                    <a:pt x="124" y="52"/>
                    <a:pt x="128" y="53"/>
                  </a:cubicBezTo>
                  <a:cubicBezTo>
                    <a:pt x="131" y="54"/>
                    <a:pt x="138" y="51"/>
                    <a:pt x="141" y="53"/>
                  </a:cubicBezTo>
                  <a:close/>
                  <a:moveTo>
                    <a:pt x="1" y="62"/>
                  </a:moveTo>
                  <a:cubicBezTo>
                    <a:pt x="0" y="62"/>
                    <a:pt x="0" y="62"/>
                    <a:pt x="1" y="62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7" name="Freeform 26"/>
            <p:cNvSpPr>
              <a:spLocks noEditPoints="1"/>
            </p:cNvSpPr>
            <p:nvPr/>
          </p:nvSpPr>
          <p:spPr bwMode="auto">
            <a:xfrm rot="21439583">
              <a:off x="4440373" y="3717130"/>
              <a:ext cx="854096" cy="1064302"/>
            </a:xfrm>
            <a:custGeom>
              <a:avLst/>
              <a:gdLst/>
              <a:ahLst/>
              <a:cxnLst>
                <a:cxn ang="0">
                  <a:pos x="151" y="126"/>
                </a:cxn>
                <a:cxn ang="0">
                  <a:pos x="149" y="137"/>
                </a:cxn>
                <a:cxn ang="0">
                  <a:pos x="140" y="167"/>
                </a:cxn>
                <a:cxn ang="0">
                  <a:pos x="136" y="192"/>
                </a:cxn>
                <a:cxn ang="0">
                  <a:pos x="128" y="209"/>
                </a:cxn>
                <a:cxn ang="0">
                  <a:pos x="95" y="211"/>
                </a:cxn>
                <a:cxn ang="0">
                  <a:pos x="78" y="220"/>
                </a:cxn>
                <a:cxn ang="0">
                  <a:pos x="65" y="215"/>
                </a:cxn>
                <a:cxn ang="0">
                  <a:pos x="55" y="219"/>
                </a:cxn>
                <a:cxn ang="0">
                  <a:pos x="41" y="216"/>
                </a:cxn>
                <a:cxn ang="0">
                  <a:pos x="41" y="201"/>
                </a:cxn>
                <a:cxn ang="0">
                  <a:pos x="39" y="184"/>
                </a:cxn>
                <a:cxn ang="0">
                  <a:pos x="37" y="170"/>
                </a:cxn>
                <a:cxn ang="0">
                  <a:pos x="27" y="153"/>
                </a:cxn>
                <a:cxn ang="0">
                  <a:pos x="26" y="129"/>
                </a:cxn>
                <a:cxn ang="0">
                  <a:pos x="17" y="111"/>
                </a:cxn>
                <a:cxn ang="0">
                  <a:pos x="18" y="89"/>
                </a:cxn>
                <a:cxn ang="0">
                  <a:pos x="14" y="70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19" y="50"/>
                </a:cxn>
                <a:cxn ang="0">
                  <a:pos x="32" y="32"/>
                </a:cxn>
                <a:cxn ang="0">
                  <a:pos x="33" y="41"/>
                </a:cxn>
                <a:cxn ang="0">
                  <a:pos x="48" y="51"/>
                </a:cxn>
                <a:cxn ang="0">
                  <a:pos x="63" y="51"/>
                </a:cxn>
                <a:cxn ang="0">
                  <a:pos x="72" y="18"/>
                </a:cxn>
                <a:cxn ang="0">
                  <a:pos x="94" y="11"/>
                </a:cxn>
                <a:cxn ang="0">
                  <a:pos x="124" y="3"/>
                </a:cxn>
                <a:cxn ang="0">
                  <a:pos x="130" y="3"/>
                </a:cxn>
                <a:cxn ang="0">
                  <a:pos x="143" y="30"/>
                </a:cxn>
                <a:cxn ang="0">
                  <a:pos x="146" y="48"/>
                </a:cxn>
                <a:cxn ang="0">
                  <a:pos x="137" y="59"/>
                </a:cxn>
                <a:cxn ang="0">
                  <a:pos x="140" y="84"/>
                </a:cxn>
                <a:cxn ang="0">
                  <a:pos x="134" y="101"/>
                </a:cxn>
                <a:cxn ang="0">
                  <a:pos x="133" y="123"/>
                </a:cxn>
                <a:cxn ang="0">
                  <a:pos x="130" y="3"/>
                </a:cxn>
                <a:cxn ang="0">
                  <a:pos x="130" y="3"/>
                </a:cxn>
                <a:cxn ang="0">
                  <a:pos x="130" y="1"/>
                </a:cxn>
                <a:cxn ang="0">
                  <a:pos x="130" y="1"/>
                </a:cxn>
                <a:cxn ang="0">
                  <a:pos x="31" y="32"/>
                </a:cxn>
                <a:cxn ang="0">
                  <a:pos x="31" y="32"/>
                </a:cxn>
                <a:cxn ang="0">
                  <a:pos x="28" y="32"/>
                </a:cxn>
                <a:cxn ang="0">
                  <a:pos x="27" y="32"/>
                </a:cxn>
                <a:cxn ang="0">
                  <a:pos x="27" y="32"/>
                </a:cxn>
                <a:cxn ang="0">
                  <a:pos x="26" y="32"/>
                </a:cxn>
                <a:cxn ang="0">
                  <a:pos x="0" y="45"/>
                </a:cxn>
                <a:cxn ang="0">
                  <a:pos x="0" y="45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1" y="46"/>
                </a:cxn>
                <a:cxn ang="0">
                  <a:pos x="2" y="46"/>
                </a:cxn>
              </a:cxnLst>
              <a:rect l="0" t="0" r="r" b="b"/>
              <a:pathLst>
                <a:path w="153" h="224">
                  <a:moveTo>
                    <a:pt x="145" y="122"/>
                  </a:moveTo>
                  <a:cubicBezTo>
                    <a:pt x="147" y="123"/>
                    <a:pt x="150" y="124"/>
                    <a:pt x="151" y="126"/>
                  </a:cubicBezTo>
                  <a:cubicBezTo>
                    <a:pt x="153" y="129"/>
                    <a:pt x="153" y="131"/>
                    <a:pt x="152" y="134"/>
                  </a:cubicBezTo>
                  <a:cubicBezTo>
                    <a:pt x="152" y="136"/>
                    <a:pt x="150" y="133"/>
                    <a:pt x="149" y="137"/>
                  </a:cubicBezTo>
                  <a:cubicBezTo>
                    <a:pt x="148" y="141"/>
                    <a:pt x="151" y="153"/>
                    <a:pt x="149" y="158"/>
                  </a:cubicBezTo>
                  <a:cubicBezTo>
                    <a:pt x="147" y="164"/>
                    <a:pt x="142" y="163"/>
                    <a:pt x="140" y="167"/>
                  </a:cubicBezTo>
                  <a:cubicBezTo>
                    <a:pt x="138" y="172"/>
                    <a:pt x="139" y="179"/>
                    <a:pt x="139" y="184"/>
                  </a:cubicBezTo>
                  <a:cubicBezTo>
                    <a:pt x="138" y="188"/>
                    <a:pt x="138" y="189"/>
                    <a:pt x="136" y="192"/>
                  </a:cubicBezTo>
                  <a:cubicBezTo>
                    <a:pt x="134" y="195"/>
                    <a:pt x="129" y="197"/>
                    <a:pt x="128" y="200"/>
                  </a:cubicBezTo>
                  <a:cubicBezTo>
                    <a:pt x="126" y="203"/>
                    <a:pt x="132" y="207"/>
                    <a:pt x="128" y="209"/>
                  </a:cubicBezTo>
                  <a:cubicBezTo>
                    <a:pt x="123" y="211"/>
                    <a:pt x="110" y="209"/>
                    <a:pt x="105" y="210"/>
                  </a:cubicBezTo>
                  <a:cubicBezTo>
                    <a:pt x="100" y="210"/>
                    <a:pt x="97" y="209"/>
                    <a:pt x="95" y="211"/>
                  </a:cubicBezTo>
                  <a:cubicBezTo>
                    <a:pt x="92" y="213"/>
                    <a:pt x="95" y="218"/>
                    <a:pt x="92" y="220"/>
                  </a:cubicBezTo>
                  <a:cubicBezTo>
                    <a:pt x="88" y="222"/>
                    <a:pt x="82" y="221"/>
                    <a:pt x="78" y="220"/>
                  </a:cubicBezTo>
                  <a:cubicBezTo>
                    <a:pt x="74" y="219"/>
                    <a:pt x="74" y="216"/>
                    <a:pt x="71" y="215"/>
                  </a:cubicBezTo>
                  <a:cubicBezTo>
                    <a:pt x="69" y="214"/>
                    <a:pt x="67" y="214"/>
                    <a:pt x="65" y="215"/>
                  </a:cubicBezTo>
                  <a:cubicBezTo>
                    <a:pt x="63" y="217"/>
                    <a:pt x="64" y="222"/>
                    <a:pt x="62" y="223"/>
                  </a:cubicBezTo>
                  <a:cubicBezTo>
                    <a:pt x="59" y="224"/>
                    <a:pt x="58" y="220"/>
                    <a:pt x="55" y="219"/>
                  </a:cubicBezTo>
                  <a:cubicBezTo>
                    <a:pt x="51" y="218"/>
                    <a:pt x="44" y="218"/>
                    <a:pt x="41" y="216"/>
                  </a:cubicBezTo>
                  <a:lnTo>
                    <a:pt x="41" y="216"/>
                  </a:lnTo>
                  <a:cubicBezTo>
                    <a:pt x="41" y="216"/>
                    <a:pt x="42" y="215"/>
                    <a:pt x="42" y="215"/>
                  </a:cubicBezTo>
                  <a:cubicBezTo>
                    <a:pt x="44" y="212"/>
                    <a:pt x="42" y="204"/>
                    <a:pt x="41" y="201"/>
                  </a:cubicBezTo>
                  <a:cubicBezTo>
                    <a:pt x="40" y="197"/>
                    <a:pt x="37" y="197"/>
                    <a:pt x="37" y="194"/>
                  </a:cubicBezTo>
                  <a:cubicBezTo>
                    <a:pt x="36" y="191"/>
                    <a:pt x="39" y="187"/>
                    <a:pt x="39" y="184"/>
                  </a:cubicBezTo>
                  <a:cubicBezTo>
                    <a:pt x="38" y="181"/>
                    <a:pt x="34" y="181"/>
                    <a:pt x="34" y="178"/>
                  </a:cubicBezTo>
                  <a:cubicBezTo>
                    <a:pt x="34" y="176"/>
                    <a:pt x="37" y="173"/>
                    <a:pt x="37" y="170"/>
                  </a:cubicBezTo>
                  <a:cubicBezTo>
                    <a:pt x="37" y="167"/>
                    <a:pt x="34" y="165"/>
                    <a:pt x="33" y="162"/>
                  </a:cubicBezTo>
                  <a:cubicBezTo>
                    <a:pt x="31" y="159"/>
                    <a:pt x="28" y="154"/>
                    <a:pt x="27" y="153"/>
                  </a:cubicBezTo>
                  <a:cubicBezTo>
                    <a:pt x="26" y="151"/>
                    <a:pt x="29" y="144"/>
                    <a:pt x="29" y="140"/>
                  </a:cubicBezTo>
                  <a:cubicBezTo>
                    <a:pt x="29" y="136"/>
                    <a:pt x="28" y="131"/>
                    <a:pt x="26" y="129"/>
                  </a:cubicBezTo>
                  <a:cubicBezTo>
                    <a:pt x="23" y="127"/>
                    <a:pt x="18" y="122"/>
                    <a:pt x="18" y="120"/>
                  </a:cubicBezTo>
                  <a:cubicBezTo>
                    <a:pt x="18" y="119"/>
                    <a:pt x="18" y="115"/>
                    <a:pt x="17" y="111"/>
                  </a:cubicBezTo>
                  <a:cubicBezTo>
                    <a:pt x="17" y="108"/>
                    <a:pt x="15" y="104"/>
                    <a:pt x="15" y="100"/>
                  </a:cubicBezTo>
                  <a:cubicBezTo>
                    <a:pt x="15" y="96"/>
                    <a:pt x="18" y="91"/>
                    <a:pt x="18" y="89"/>
                  </a:cubicBezTo>
                  <a:cubicBezTo>
                    <a:pt x="19" y="87"/>
                    <a:pt x="20" y="81"/>
                    <a:pt x="17" y="78"/>
                  </a:cubicBezTo>
                  <a:cubicBezTo>
                    <a:pt x="14" y="75"/>
                    <a:pt x="15" y="71"/>
                    <a:pt x="14" y="70"/>
                  </a:cubicBezTo>
                  <a:cubicBezTo>
                    <a:pt x="13" y="68"/>
                    <a:pt x="8" y="67"/>
                    <a:pt x="8" y="61"/>
                  </a:cubicBezTo>
                  <a:cubicBezTo>
                    <a:pt x="7" y="58"/>
                    <a:pt x="8" y="53"/>
                    <a:pt x="8" y="48"/>
                  </a:cubicBezTo>
                  <a:lnTo>
                    <a:pt x="8" y="48"/>
                  </a:lnTo>
                  <a:cubicBezTo>
                    <a:pt x="8" y="48"/>
                    <a:pt x="8" y="48"/>
                    <a:pt x="8" y="48"/>
                  </a:cubicBezTo>
                  <a:cubicBezTo>
                    <a:pt x="11" y="49"/>
                    <a:pt x="10" y="50"/>
                    <a:pt x="12" y="51"/>
                  </a:cubicBezTo>
                  <a:cubicBezTo>
                    <a:pt x="14" y="51"/>
                    <a:pt x="18" y="53"/>
                    <a:pt x="19" y="50"/>
                  </a:cubicBezTo>
                  <a:cubicBezTo>
                    <a:pt x="21" y="47"/>
                    <a:pt x="15" y="41"/>
                    <a:pt x="19" y="36"/>
                  </a:cubicBezTo>
                  <a:cubicBezTo>
                    <a:pt x="22" y="33"/>
                    <a:pt x="26" y="36"/>
                    <a:pt x="32" y="32"/>
                  </a:cubicBezTo>
                  <a:cubicBezTo>
                    <a:pt x="33" y="32"/>
                    <a:pt x="33" y="32"/>
                    <a:pt x="34" y="33"/>
                  </a:cubicBezTo>
                  <a:cubicBezTo>
                    <a:pt x="35" y="35"/>
                    <a:pt x="30" y="39"/>
                    <a:pt x="33" y="41"/>
                  </a:cubicBezTo>
                  <a:cubicBezTo>
                    <a:pt x="36" y="42"/>
                    <a:pt x="43" y="37"/>
                    <a:pt x="47" y="40"/>
                  </a:cubicBezTo>
                  <a:cubicBezTo>
                    <a:pt x="50" y="42"/>
                    <a:pt x="47" y="48"/>
                    <a:pt x="48" y="51"/>
                  </a:cubicBezTo>
                  <a:cubicBezTo>
                    <a:pt x="50" y="54"/>
                    <a:pt x="53" y="53"/>
                    <a:pt x="56" y="53"/>
                  </a:cubicBezTo>
                  <a:cubicBezTo>
                    <a:pt x="58" y="53"/>
                    <a:pt x="60" y="53"/>
                    <a:pt x="63" y="51"/>
                  </a:cubicBezTo>
                  <a:cubicBezTo>
                    <a:pt x="65" y="50"/>
                    <a:pt x="69" y="50"/>
                    <a:pt x="71" y="44"/>
                  </a:cubicBezTo>
                  <a:cubicBezTo>
                    <a:pt x="73" y="38"/>
                    <a:pt x="70" y="23"/>
                    <a:pt x="72" y="18"/>
                  </a:cubicBezTo>
                  <a:cubicBezTo>
                    <a:pt x="74" y="12"/>
                    <a:pt x="78" y="17"/>
                    <a:pt x="82" y="16"/>
                  </a:cubicBezTo>
                  <a:cubicBezTo>
                    <a:pt x="86" y="15"/>
                    <a:pt x="88" y="12"/>
                    <a:pt x="94" y="11"/>
                  </a:cubicBezTo>
                  <a:cubicBezTo>
                    <a:pt x="99" y="10"/>
                    <a:pt x="107" y="11"/>
                    <a:pt x="112" y="10"/>
                  </a:cubicBezTo>
                  <a:cubicBezTo>
                    <a:pt x="118" y="8"/>
                    <a:pt x="120" y="3"/>
                    <a:pt x="124" y="3"/>
                  </a:cubicBezTo>
                  <a:cubicBezTo>
                    <a:pt x="127" y="2"/>
                    <a:pt x="128" y="2"/>
                    <a:pt x="130" y="3"/>
                  </a:cubicBezTo>
                  <a:lnTo>
                    <a:pt x="130" y="3"/>
                  </a:lnTo>
                  <a:cubicBezTo>
                    <a:pt x="130" y="8"/>
                    <a:pt x="131" y="17"/>
                    <a:pt x="133" y="22"/>
                  </a:cubicBezTo>
                  <a:cubicBezTo>
                    <a:pt x="136" y="27"/>
                    <a:pt x="141" y="27"/>
                    <a:pt x="143" y="30"/>
                  </a:cubicBezTo>
                  <a:cubicBezTo>
                    <a:pt x="146" y="33"/>
                    <a:pt x="148" y="36"/>
                    <a:pt x="149" y="39"/>
                  </a:cubicBezTo>
                  <a:cubicBezTo>
                    <a:pt x="149" y="43"/>
                    <a:pt x="148" y="46"/>
                    <a:pt x="146" y="48"/>
                  </a:cubicBezTo>
                  <a:cubicBezTo>
                    <a:pt x="143" y="49"/>
                    <a:pt x="138" y="44"/>
                    <a:pt x="136" y="47"/>
                  </a:cubicBezTo>
                  <a:cubicBezTo>
                    <a:pt x="134" y="50"/>
                    <a:pt x="137" y="55"/>
                    <a:pt x="137" y="59"/>
                  </a:cubicBezTo>
                  <a:cubicBezTo>
                    <a:pt x="138" y="64"/>
                    <a:pt x="140" y="69"/>
                    <a:pt x="141" y="73"/>
                  </a:cubicBezTo>
                  <a:cubicBezTo>
                    <a:pt x="141" y="77"/>
                    <a:pt x="141" y="81"/>
                    <a:pt x="140" y="84"/>
                  </a:cubicBezTo>
                  <a:cubicBezTo>
                    <a:pt x="139" y="87"/>
                    <a:pt x="135" y="89"/>
                    <a:pt x="134" y="92"/>
                  </a:cubicBezTo>
                  <a:cubicBezTo>
                    <a:pt x="133" y="95"/>
                    <a:pt x="136" y="99"/>
                    <a:pt x="134" y="101"/>
                  </a:cubicBezTo>
                  <a:cubicBezTo>
                    <a:pt x="132" y="104"/>
                    <a:pt x="124" y="101"/>
                    <a:pt x="123" y="106"/>
                  </a:cubicBezTo>
                  <a:cubicBezTo>
                    <a:pt x="123" y="111"/>
                    <a:pt x="126" y="120"/>
                    <a:pt x="133" y="123"/>
                  </a:cubicBezTo>
                  <a:cubicBezTo>
                    <a:pt x="139" y="125"/>
                    <a:pt x="142" y="123"/>
                    <a:pt x="145" y="122"/>
                  </a:cubicBezTo>
                  <a:close/>
                  <a:moveTo>
                    <a:pt x="130" y="3"/>
                  </a:moveTo>
                  <a:cubicBezTo>
                    <a:pt x="130" y="2"/>
                    <a:pt x="130" y="2"/>
                    <a:pt x="130" y="2"/>
                  </a:cubicBezTo>
                  <a:cubicBezTo>
                    <a:pt x="130" y="2"/>
                    <a:pt x="130" y="2"/>
                    <a:pt x="130" y="3"/>
                  </a:cubicBezTo>
                  <a:close/>
                  <a:moveTo>
                    <a:pt x="130" y="2"/>
                  </a:moveTo>
                  <a:cubicBezTo>
                    <a:pt x="130" y="1"/>
                    <a:pt x="130" y="1"/>
                    <a:pt x="130" y="1"/>
                  </a:cubicBezTo>
                  <a:cubicBezTo>
                    <a:pt x="130" y="1"/>
                    <a:pt x="130" y="1"/>
                    <a:pt x="130" y="2"/>
                  </a:cubicBezTo>
                  <a:close/>
                  <a:moveTo>
                    <a:pt x="130" y="1"/>
                  </a:moveTo>
                  <a:cubicBezTo>
                    <a:pt x="130" y="0"/>
                    <a:pt x="130" y="0"/>
                    <a:pt x="130" y="1"/>
                  </a:cubicBezTo>
                  <a:close/>
                  <a:moveTo>
                    <a:pt x="31" y="32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lose/>
                  <a:moveTo>
                    <a:pt x="28" y="32"/>
                  </a:move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0" y="45"/>
                  </a:moveTo>
                  <a:cubicBezTo>
                    <a:pt x="0" y="46"/>
                    <a:pt x="0" y="46"/>
                    <a:pt x="0" y="46"/>
                  </a:cubicBezTo>
                  <a:cubicBezTo>
                    <a:pt x="0" y="46"/>
                    <a:pt x="0" y="46"/>
                    <a:pt x="0" y="45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1" y="46"/>
                    <a:pt x="1" y="46"/>
                  </a:cubicBezTo>
                  <a:cubicBezTo>
                    <a:pt x="1" y="46"/>
                    <a:pt x="1" y="46"/>
                    <a:pt x="1" y="46"/>
                  </a:cubicBezTo>
                  <a:close/>
                  <a:moveTo>
                    <a:pt x="1" y="46"/>
                  </a:moveTo>
                  <a:cubicBezTo>
                    <a:pt x="1" y="46"/>
                    <a:pt x="2" y="46"/>
                    <a:pt x="2" y="46"/>
                  </a:cubicBezTo>
                  <a:cubicBezTo>
                    <a:pt x="2" y="46"/>
                    <a:pt x="1" y="46"/>
                    <a:pt x="1" y="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8" name="Freeform 27"/>
            <p:cNvSpPr>
              <a:spLocks noEditPoints="1"/>
            </p:cNvSpPr>
            <p:nvPr/>
          </p:nvSpPr>
          <p:spPr bwMode="auto">
            <a:xfrm rot="21439583">
              <a:off x="4121880" y="4514989"/>
              <a:ext cx="620069" cy="1168178"/>
            </a:xfrm>
            <a:custGeom>
              <a:avLst/>
              <a:gdLst/>
              <a:ahLst/>
              <a:cxnLst>
                <a:cxn ang="0">
                  <a:pos x="29" y="37"/>
                </a:cxn>
                <a:cxn ang="0">
                  <a:pos x="29" y="57"/>
                </a:cxn>
                <a:cxn ang="0">
                  <a:pos x="29" y="84"/>
                </a:cxn>
                <a:cxn ang="0">
                  <a:pos x="22" y="95"/>
                </a:cxn>
                <a:cxn ang="0">
                  <a:pos x="25" y="112"/>
                </a:cxn>
                <a:cxn ang="0">
                  <a:pos x="11" y="125"/>
                </a:cxn>
                <a:cxn ang="0">
                  <a:pos x="10" y="146"/>
                </a:cxn>
                <a:cxn ang="0">
                  <a:pos x="18" y="166"/>
                </a:cxn>
                <a:cxn ang="0">
                  <a:pos x="6" y="187"/>
                </a:cxn>
                <a:cxn ang="0">
                  <a:pos x="11" y="206"/>
                </a:cxn>
                <a:cxn ang="0">
                  <a:pos x="17" y="223"/>
                </a:cxn>
                <a:cxn ang="0">
                  <a:pos x="21" y="239"/>
                </a:cxn>
                <a:cxn ang="0">
                  <a:pos x="30" y="236"/>
                </a:cxn>
                <a:cxn ang="0">
                  <a:pos x="45" y="226"/>
                </a:cxn>
                <a:cxn ang="0">
                  <a:pos x="60" y="215"/>
                </a:cxn>
                <a:cxn ang="0">
                  <a:pos x="69" y="204"/>
                </a:cxn>
                <a:cxn ang="0">
                  <a:pos x="68" y="195"/>
                </a:cxn>
                <a:cxn ang="0">
                  <a:pos x="57" y="176"/>
                </a:cxn>
                <a:cxn ang="0">
                  <a:pos x="60" y="153"/>
                </a:cxn>
                <a:cxn ang="0">
                  <a:pos x="58" y="127"/>
                </a:cxn>
                <a:cxn ang="0">
                  <a:pos x="76" y="116"/>
                </a:cxn>
                <a:cxn ang="0">
                  <a:pos x="76" y="100"/>
                </a:cxn>
                <a:cxn ang="0">
                  <a:pos x="95" y="96"/>
                </a:cxn>
                <a:cxn ang="0">
                  <a:pos x="109" y="85"/>
                </a:cxn>
                <a:cxn ang="0">
                  <a:pos x="109" y="58"/>
                </a:cxn>
                <a:cxn ang="0">
                  <a:pos x="102" y="47"/>
                </a:cxn>
                <a:cxn ang="0">
                  <a:pos x="92" y="39"/>
                </a:cxn>
                <a:cxn ang="0">
                  <a:pos x="89" y="30"/>
                </a:cxn>
                <a:cxn ang="0">
                  <a:pos x="81" y="13"/>
                </a:cxn>
                <a:cxn ang="0">
                  <a:pos x="72" y="18"/>
                </a:cxn>
                <a:cxn ang="0">
                  <a:pos x="50" y="21"/>
                </a:cxn>
                <a:cxn ang="0">
                  <a:pos x="34" y="1"/>
                </a:cxn>
                <a:cxn ang="0">
                  <a:pos x="18" y="8"/>
                </a:cxn>
                <a:cxn ang="0">
                  <a:pos x="11" y="221"/>
                </a:cxn>
              </a:cxnLst>
              <a:rect l="0" t="0" r="r" b="b"/>
              <a:pathLst>
                <a:path w="111" h="246">
                  <a:moveTo>
                    <a:pt x="21" y="25"/>
                  </a:moveTo>
                  <a:cubicBezTo>
                    <a:pt x="24" y="28"/>
                    <a:pt x="28" y="32"/>
                    <a:pt x="29" y="37"/>
                  </a:cubicBezTo>
                  <a:cubicBezTo>
                    <a:pt x="29" y="42"/>
                    <a:pt x="25" y="49"/>
                    <a:pt x="25" y="52"/>
                  </a:cubicBezTo>
                  <a:cubicBezTo>
                    <a:pt x="25" y="56"/>
                    <a:pt x="28" y="54"/>
                    <a:pt x="29" y="57"/>
                  </a:cubicBezTo>
                  <a:cubicBezTo>
                    <a:pt x="29" y="60"/>
                    <a:pt x="29" y="68"/>
                    <a:pt x="29" y="71"/>
                  </a:cubicBezTo>
                  <a:cubicBezTo>
                    <a:pt x="29" y="73"/>
                    <a:pt x="31" y="83"/>
                    <a:pt x="29" y="84"/>
                  </a:cubicBezTo>
                  <a:cubicBezTo>
                    <a:pt x="28" y="84"/>
                    <a:pt x="23" y="87"/>
                    <a:pt x="18" y="89"/>
                  </a:cubicBezTo>
                  <a:cubicBezTo>
                    <a:pt x="20" y="91"/>
                    <a:pt x="21" y="94"/>
                    <a:pt x="22" y="95"/>
                  </a:cubicBezTo>
                  <a:cubicBezTo>
                    <a:pt x="26" y="102"/>
                    <a:pt x="24" y="101"/>
                    <a:pt x="24" y="103"/>
                  </a:cubicBezTo>
                  <a:cubicBezTo>
                    <a:pt x="25" y="106"/>
                    <a:pt x="26" y="110"/>
                    <a:pt x="25" y="112"/>
                  </a:cubicBezTo>
                  <a:cubicBezTo>
                    <a:pt x="23" y="115"/>
                    <a:pt x="20" y="112"/>
                    <a:pt x="18" y="115"/>
                  </a:cubicBezTo>
                  <a:cubicBezTo>
                    <a:pt x="15" y="117"/>
                    <a:pt x="12" y="123"/>
                    <a:pt x="11" y="125"/>
                  </a:cubicBezTo>
                  <a:cubicBezTo>
                    <a:pt x="10" y="127"/>
                    <a:pt x="8" y="133"/>
                    <a:pt x="8" y="135"/>
                  </a:cubicBezTo>
                  <a:cubicBezTo>
                    <a:pt x="8" y="137"/>
                    <a:pt x="9" y="145"/>
                    <a:pt x="10" y="146"/>
                  </a:cubicBezTo>
                  <a:cubicBezTo>
                    <a:pt x="11" y="148"/>
                    <a:pt x="15" y="152"/>
                    <a:pt x="16" y="156"/>
                  </a:cubicBezTo>
                  <a:cubicBezTo>
                    <a:pt x="18" y="159"/>
                    <a:pt x="18" y="162"/>
                    <a:pt x="18" y="166"/>
                  </a:cubicBezTo>
                  <a:cubicBezTo>
                    <a:pt x="17" y="170"/>
                    <a:pt x="14" y="176"/>
                    <a:pt x="12" y="179"/>
                  </a:cubicBezTo>
                  <a:cubicBezTo>
                    <a:pt x="10" y="183"/>
                    <a:pt x="8" y="184"/>
                    <a:pt x="6" y="187"/>
                  </a:cubicBezTo>
                  <a:cubicBezTo>
                    <a:pt x="4" y="189"/>
                    <a:pt x="0" y="191"/>
                    <a:pt x="1" y="195"/>
                  </a:cubicBezTo>
                  <a:cubicBezTo>
                    <a:pt x="2" y="199"/>
                    <a:pt x="9" y="201"/>
                    <a:pt x="11" y="206"/>
                  </a:cubicBezTo>
                  <a:cubicBezTo>
                    <a:pt x="13" y="211"/>
                    <a:pt x="12" y="217"/>
                    <a:pt x="11" y="221"/>
                  </a:cubicBezTo>
                  <a:cubicBezTo>
                    <a:pt x="13" y="221"/>
                    <a:pt x="16" y="221"/>
                    <a:pt x="17" y="223"/>
                  </a:cubicBezTo>
                  <a:cubicBezTo>
                    <a:pt x="19" y="224"/>
                    <a:pt x="18" y="227"/>
                    <a:pt x="19" y="230"/>
                  </a:cubicBezTo>
                  <a:cubicBezTo>
                    <a:pt x="19" y="233"/>
                    <a:pt x="19" y="237"/>
                    <a:pt x="21" y="239"/>
                  </a:cubicBezTo>
                  <a:cubicBezTo>
                    <a:pt x="22" y="242"/>
                    <a:pt x="24" y="246"/>
                    <a:pt x="27" y="245"/>
                  </a:cubicBezTo>
                  <a:cubicBezTo>
                    <a:pt x="29" y="244"/>
                    <a:pt x="29" y="239"/>
                    <a:pt x="30" y="236"/>
                  </a:cubicBezTo>
                  <a:cubicBezTo>
                    <a:pt x="32" y="233"/>
                    <a:pt x="33" y="229"/>
                    <a:pt x="36" y="227"/>
                  </a:cubicBezTo>
                  <a:cubicBezTo>
                    <a:pt x="38" y="225"/>
                    <a:pt x="42" y="228"/>
                    <a:pt x="45" y="226"/>
                  </a:cubicBezTo>
                  <a:cubicBezTo>
                    <a:pt x="48" y="224"/>
                    <a:pt x="46" y="218"/>
                    <a:pt x="49" y="215"/>
                  </a:cubicBezTo>
                  <a:cubicBezTo>
                    <a:pt x="52" y="213"/>
                    <a:pt x="57" y="216"/>
                    <a:pt x="60" y="215"/>
                  </a:cubicBezTo>
                  <a:cubicBezTo>
                    <a:pt x="63" y="213"/>
                    <a:pt x="63" y="208"/>
                    <a:pt x="64" y="206"/>
                  </a:cubicBezTo>
                  <a:cubicBezTo>
                    <a:pt x="66" y="205"/>
                    <a:pt x="66" y="201"/>
                    <a:pt x="69" y="204"/>
                  </a:cubicBezTo>
                  <a:cubicBezTo>
                    <a:pt x="70" y="205"/>
                    <a:pt x="70" y="206"/>
                    <a:pt x="71" y="206"/>
                  </a:cubicBezTo>
                  <a:cubicBezTo>
                    <a:pt x="70" y="202"/>
                    <a:pt x="68" y="198"/>
                    <a:pt x="68" y="195"/>
                  </a:cubicBezTo>
                  <a:cubicBezTo>
                    <a:pt x="67" y="187"/>
                    <a:pt x="65" y="189"/>
                    <a:pt x="63" y="186"/>
                  </a:cubicBezTo>
                  <a:cubicBezTo>
                    <a:pt x="61" y="183"/>
                    <a:pt x="59" y="180"/>
                    <a:pt x="57" y="176"/>
                  </a:cubicBezTo>
                  <a:cubicBezTo>
                    <a:pt x="56" y="172"/>
                    <a:pt x="52" y="165"/>
                    <a:pt x="53" y="161"/>
                  </a:cubicBezTo>
                  <a:cubicBezTo>
                    <a:pt x="54" y="157"/>
                    <a:pt x="59" y="156"/>
                    <a:pt x="60" y="153"/>
                  </a:cubicBezTo>
                  <a:cubicBezTo>
                    <a:pt x="61" y="149"/>
                    <a:pt x="58" y="146"/>
                    <a:pt x="58" y="141"/>
                  </a:cubicBezTo>
                  <a:cubicBezTo>
                    <a:pt x="57" y="137"/>
                    <a:pt x="56" y="130"/>
                    <a:pt x="58" y="127"/>
                  </a:cubicBezTo>
                  <a:cubicBezTo>
                    <a:pt x="59" y="123"/>
                    <a:pt x="62" y="127"/>
                    <a:pt x="65" y="125"/>
                  </a:cubicBezTo>
                  <a:cubicBezTo>
                    <a:pt x="69" y="123"/>
                    <a:pt x="74" y="119"/>
                    <a:pt x="76" y="116"/>
                  </a:cubicBezTo>
                  <a:cubicBezTo>
                    <a:pt x="78" y="113"/>
                    <a:pt x="76" y="112"/>
                    <a:pt x="76" y="109"/>
                  </a:cubicBezTo>
                  <a:cubicBezTo>
                    <a:pt x="76" y="106"/>
                    <a:pt x="75" y="102"/>
                    <a:pt x="76" y="100"/>
                  </a:cubicBezTo>
                  <a:cubicBezTo>
                    <a:pt x="77" y="98"/>
                    <a:pt x="79" y="97"/>
                    <a:pt x="82" y="96"/>
                  </a:cubicBezTo>
                  <a:cubicBezTo>
                    <a:pt x="85" y="96"/>
                    <a:pt x="91" y="97"/>
                    <a:pt x="95" y="96"/>
                  </a:cubicBezTo>
                  <a:cubicBezTo>
                    <a:pt x="98" y="96"/>
                    <a:pt x="99" y="95"/>
                    <a:pt x="101" y="93"/>
                  </a:cubicBezTo>
                  <a:cubicBezTo>
                    <a:pt x="104" y="91"/>
                    <a:pt x="107" y="89"/>
                    <a:pt x="109" y="85"/>
                  </a:cubicBezTo>
                  <a:cubicBezTo>
                    <a:pt x="110" y="80"/>
                    <a:pt x="108" y="73"/>
                    <a:pt x="108" y="68"/>
                  </a:cubicBezTo>
                  <a:cubicBezTo>
                    <a:pt x="108" y="64"/>
                    <a:pt x="111" y="66"/>
                    <a:pt x="109" y="58"/>
                  </a:cubicBezTo>
                  <a:cubicBezTo>
                    <a:pt x="109" y="57"/>
                    <a:pt x="108" y="55"/>
                    <a:pt x="108" y="52"/>
                  </a:cubicBezTo>
                  <a:cubicBezTo>
                    <a:pt x="106" y="54"/>
                    <a:pt x="105" y="48"/>
                    <a:pt x="102" y="47"/>
                  </a:cubicBezTo>
                  <a:cubicBezTo>
                    <a:pt x="99" y="46"/>
                    <a:pt x="94" y="49"/>
                    <a:pt x="92" y="47"/>
                  </a:cubicBezTo>
                  <a:cubicBezTo>
                    <a:pt x="89" y="45"/>
                    <a:pt x="91" y="42"/>
                    <a:pt x="92" y="39"/>
                  </a:cubicBezTo>
                  <a:cubicBezTo>
                    <a:pt x="93" y="37"/>
                    <a:pt x="97" y="37"/>
                    <a:pt x="97" y="34"/>
                  </a:cubicBezTo>
                  <a:cubicBezTo>
                    <a:pt x="96" y="32"/>
                    <a:pt x="91" y="31"/>
                    <a:pt x="89" y="30"/>
                  </a:cubicBezTo>
                  <a:cubicBezTo>
                    <a:pt x="88" y="29"/>
                    <a:pt x="85" y="26"/>
                    <a:pt x="85" y="24"/>
                  </a:cubicBezTo>
                  <a:cubicBezTo>
                    <a:pt x="85" y="22"/>
                    <a:pt x="82" y="13"/>
                    <a:pt x="81" y="13"/>
                  </a:cubicBezTo>
                  <a:cubicBezTo>
                    <a:pt x="80" y="13"/>
                    <a:pt x="78" y="13"/>
                    <a:pt x="76" y="14"/>
                  </a:cubicBezTo>
                  <a:cubicBezTo>
                    <a:pt x="75" y="15"/>
                    <a:pt x="74" y="17"/>
                    <a:pt x="72" y="18"/>
                  </a:cubicBezTo>
                  <a:cubicBezTo>
                    <a:pt x="70" y="20"/>
                    <a:pt x="68" y="22"/>
                    <a:pt x="65" y="22"/>
                  </a:cubicBezTo>
                  <a:cubicBezTo>
                    <a:pt x="61" y="23"/>
                    <a:pt x="54" y="23"/>
                    <a:pt x="50" y="21"/>
                  </a:cubicBezTo>
                  <a:cubicBezTo>
                    <a:pt x="45" y="18"/>
                    <a:pt x="40" y="11"/>
                    <a:pt x="37" y="8"/>
                  </a:cubicBezTo>
                  <a:cubicBezTo>
                    <a:pt x="35" y="4"/>
                    <a:pt x="36" y="2"/>
                    <a:pt x="34" y="1"/>
                  </a:cubicBezTo>
                  <a:cubicBezTo>
                    <a:pt x="31" y="0"/>
                    <a:pt x="28" y="1"/>
                    <a:pt x="25" y="2"/>
                  </a:cubicBezTo>
                  <a:cubicBezTo>
                    <a:pt x="23" y="3"/>
                    <a:pt x="20" y="5"/>
                    <a:pt x="18" y="8"/>
                  </a:cubicBezTo>
                  <a:cubicBezTo>
                    <a:pt x="12" y="16"/>
                    <a:pt x="17" y="18"/>
                    <a:pt x="21" y="25"/>
                  </a:cubicBezTo>
                  <a:close/>
                  <a:moveTo>
                    <a:pt x="11" y="221"/>
                  </a:moveTo>
                  <a:cubicBezTo>
                    <a:pt x="9" y="221"/>
                    <a:pt x="9" y="221"/>
                    <a:pt x="11" y="22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99" name="Freeform 29"/>
            <p:cNvSpPr>
              <a:spLocks noEditPoints="1"/>
            </p:cNvSpPr>
            <p:nvPr/>
          </p:nvSpPr>
          <p:spPr bwMode="auto">
            <a:xfrm rot="21439583">
              <a:off x="4791548" y="5206509"/>
              <a:ext cx="1122126" cy="941695"/>
            </a:xfrm>
            <a:custGeom>
              <a:avLst/>
              <a:gdLst/>
              <a:ahLst/>
              <a:cxnLst>
                <a:cxn ang="0">
                  <a:pos x="178" y="1"/>
                </a:cxn>
                <a:cxn ang="0">
                  <a:pos x="197" y="22"/>
                </a:cxn>
                <a:cxn ang="0">
                  <a:pos x="183" y="36"/>
                </a:cxn>
                <a:cxn ang="0">
                  <a:pos x="178" y="55"/>
                </a:cxn>
                <a:cxn ang="0">
                  <a:pos x="170" y="69"/>
                </a:cxn>
                <a:cxn ang="0">
                  <a:pos x="159" y="90"/>
                </a:cxn>
                <a:cxn ang="0">
                  <a:pos x="152" y="106"/>
                </a:cxn>
                <a:cxn ang="0">
                  <a:pos x="145" y="123"/>
                </a:cxn>
                <a:cxn ang="0">
                  <a:pos x="129" y="138"/>
                </a:cxn>
                <a:cxn ang="0">
                  <a:pos x="104" y="164"/>
                </a:cxn>
                <a:cxn ang="0">
                  <a:pos x="82" y="180"/>
                </a:cxn>
                <a:cxn ang="0">
                  <a:pos x="73" y="185"/>
                </a:cxn>
                <a:cxn ang="0">
                  <a:pos x="63" y="193"/>
                </a:cxn>
                <a:cxn ang="0">
                  <a:pos x="62" y="193"/>
                </a:cxn>
                <a:cxn ang="0">
                  <a:pos x="39" y="196"/>
                </a:cxn>
                <a:cxn ang="0">
                  <a:pos x="28" y="180"/>
                </a:cxn>
                <a:cxn ang="0">
                  <a:pos x="7" y="179"/>
                </a:cxn>
                <a:cxn ang="0">
                  <a:pos x="18" y="174"/>
                </a:cxn>
                <a:cxn ang="0">
                  <a:pos x="27" y="162"/>
                </a:cxn>
                <a:cxn ang="0">
                  <a:pos x="31" y="145"/>
                </a:cxn>
                <a:cxn ang="0">
                  <a:pos x="41" y="130"/>
                </a:cxn>
                <a:cxn ang="0">
                  <a:pos x="52" y="121"/>
                </a:cxn>
                <a:cxn ang="0">
                  <a:pos x="65" y="114"/>
                </a:cxn>
                <a:cxn ang="0">
                  <a:pos x="78" y="110"/>
                </a:cxn>
                <a:cxn ang="0">
                  <a:pos x="95" y="104"/>
                </a:cxn>
                <a:cxn ang="0">
                  <a:pos x="106" y="112"/>
                </a:cxn>
                <a:cxn ang="0">
                  <a:pos x="111" y="100"/>
                </a:cxn>
                <a:cxn ang="0">
                  <a:pos x="116" y="85"/>
                </a:cxn>
                <a:cxn ang="0">
                  <a:pos x="129" y="72"/>
                </a:cxn>
                <a:cxn ang="0">
                  <a:pos x="143" y="57"/>
                </a:cxn>
                <a:cxn ang="0">
                  <a:pos x="153" y="47"/>
                </a:cxn>
                <a:cxn ang="0">
                  <a:pos x="157" y="31"/>
                </a:cxn>
                <a:cxn ang="0">
                  <a:pos x="167" y="14"/>
                </a:cxn>
                <a:cxn ang="0">
                  <a:pos x="177" y="0"/>
                </a:cxn>
                <a:cxn ang="0">
                  <a:pos x="55" y="197"/>
                </a:cxn>
                <a:cxn ang="0">
                  <a:pos x="55" y="197"/>
                </a:cxn>
                <a:cxn ang="0">
                  <a:pos x="55" y="197"/>
                </a:cxn>
              </a:cxnLst>
              <a:rect l="0" t="0" r="r" b="b"/>
              <a:pathLst>
                <a:path w="201" h="198">
                  <a:moveTo>
                    <a:pt x="177" y="0"/>
                  </a:moveTo>
                  <a:cubicBezTo>
                    <a:pt x="178" y="0"/>
                    <a:pt x="178" y="0"/>
                    <a:pt x="178" y="1"/>
                  </a:cubicBezTo>
                  <a:cubicBezTo>
                    <a:pt x="182" y="5"/>
                    <a:pt x="194" y="9"/>
                    <a:pt x="198" y="13"/>
                  </a:cubicBezTo>
                  <a:cubicBezTo>
                    <a:pt x="201" y="17"/>
                    <a:pt x="198" y="19"/>
                    <a:pt x="197" y="22"/>
                  </a:cubicBezTo>
                  <a:cubicBezTo>
                    <a:pt x="196" y="26"/>
                    <a:pt x="193" y="31"/>
                    <a:pt x="190" y="33"/>
                  </a:cubicBezTo>
                  <a:cubicBezTo>
                    <a:pt x="188" y="36"/>
                    <a:pt x="185" y="34"/>
                    <a:pt x="183" y="36"/>
                  </a:cubicBezTo>
                  <a:cubicBezTo>
                    <a:pt x="182" y="39"/>
                    <a:pt x="183" y="42"/>
                    <a:pt x="182" y="45"/>
                  </a:cubicBezTo>
                  <a:cubicBezTo>
                    <a:pt x="181" y="49"/>
                    <a:pt x="180" y="53"/>
                    <a:pt x="178" y="55"/>
                  </a:cubicBezTo>
                  <a:cubicBezTo>
                    <a:pt x="176" y="58"/>
                    <a:pt x="172" y="59"/>
                    <a:pt x="171" y="61"/>
                  </a:cubicBezTo>
                  <a:cubicBezTo>
                    <a:pt x="169" y="64"/>
                    <a:pt x="172" y="66"/>
                    <a:pt x="170" y="69"/>
                  </a:cubicBezTo>
                  <a:cubicBezTo>
                    <a:pt x="169" y="72"/>
                    <a:pt x="165" y="72"/>
                    <a:pt x="163" y="76"/>
                  </a:cubicBezTo>
                  <a:cubicBezTo>
                    <a:pt x="161" y="79"/>
                    <a:pt x="160" y="85"/>
                    <a:pt x="159" y="90"/>
                  </a:cubicBezTo>
                  <a:cubicBezTo>
                    <a:pt x="158" y="95"/>
                    <a:pt x="159" y="102"/>
                    <a:pt x="157" y="105"/>
                  </a:cubicBezTo>
                  <a:cubicBezTo>
                    <a:pt x="156" y="108"/>
                    <a:pt x="153" y="103"/>
                    <a:pt x="152" y="106"/>
                  </a:cubicBezTo>
                  <a:cubicBezTo>
                    <a:pt x="151" y="110"/>
                    <a:pt x="153" y="119"/>
                    <a:pt x="152" y="122"/>
                  </a:cubicBezTo>
                  <a:cubicBezTo>
                    <a:pt x="150" y="126"/>
                    <a:pt x="148" y="121"/>
                    <a:pt x="145" y="123"/>
                  </a:cubicBezTo>
                  <a:cubicBezTo>
                    <a:pt x="143" y="125"/>
                    <a:pt x="139" y="133"/>
                    <a:pt x="136" y="135"/>
                  </a:cubicBezTo>
                  <a:cubicBezTo>
                    <a:pt x="133" y="138"/>
                    <a:pt x="133" y="135"/>
                    <a:pt x="129" y="138"/>
                  </a:cubicBezTo>
                  <a:cubicBezTo>
                    <a:pt x="126" y="141"/>
                    <a:pt x="121" y="147"/>
                    <a:pt x="116" y="151"/>
                  </a:cubicBezTo>
                  <a:cubicBezTo>
                    <a:pt x="112" y="156"/>
                    <a:pt x="108" y="161"/>
                    <a:pt x="104" y="164"/>
                  </a:cubicBezTo>
                  <a:cubicBezTo>
                    <a:pt x="100" y="168"/>
                    <a:pt x="95" y="171"/>
                    <a:pt x="91" y="174"/>
                  </a:cubicBezTo>
                  <a:cubicBezTo>
                    <a:pt x="88" y="176"/>
                    <a:pt x="84" y="178"/>
                    <a:pt x="82" y="180"/>
                  </a:cubicBezTo>
                  <a:cubicBezTo>
                    <a:pt x="80" y="182"/>
                    <a:pt x="80" y="183"/>
                    <a:pt x="78" y="184"/>
                  </a:cubicBezTo>
                  <a:cubicBezTo>
                    <a:pt x="77" y="185"/>
                    <a:pt x="75" y="184"/>
                    <a:pt x="73" y="185"/>
                  </a:cubicBezTo>
                  <a:cubicBezTo>
                    <a:pt x="71" y="187"/>
                    <a:pt x="70" y="191"/>
                    <a:pt x="68" y="192"/>
                  </a:cubicBezTo>
                  <a:cubicBezTo>
                    <a:pt x="66" y="193"/>
                    <a:pt x="65" y="192"/>
                    <a:pt x="63" y="193"/>
                  </a:cubicBezTo>
                  <a:cubicBezTo>
                    <a:pt x="61" y="194"/>
                    <a:pt x="59" y="195"/>
                    <a:pt x="56" y="196"/>
                  </a:cubicBezTo>
                  <a:cubicBezTo>
                    <a:pt x="58" y="195"/>
                    <a:pt x="61" y="194"/>
                    <a:pt x="62" y="193"/>
                  </a:cubicBezTo>
                  <a:cubicBezTo>
                    <a:pt x="59" y="191"/>
                    <a:pt x="52" y="194"/>
                    <a:pt x="49" y="193"/>
                  </a:cubicBezTo>
                  <a:cubicBezTo>
                    <a:pt x="45" y="192"/>
                    <a:pt x="43" y="197"/>
                    <a:pt x="39" y="196"/>
                  </a:cubicBezTo>
                  <a:cubicBezTo>
                    <a:pt x="36" y="195"/>
                    <a:pt x="34" y="190"/>
                    <a:pt x="32" y="187"/>
                  </a:cubicBezTo>
                  <a:cubicBezTo>
                    <a:pt x="30" y="185"/>
                    <a:pt x="32" y="181"/>
                    <a:pt x="28" y="180"/>
                  </a:cubicBezTo>
                  <a:cubicBezTo>
                    <a:pt x="24" y="179"/>
                    <a:pt x="17" y="184"/>
                    <a:pt x="12" y="183"/>
                  </a:cubicBezTo>
                  <a:cubicBezTo>
                    <a:pt x="10" y="182"/>
                    <a:pt x="8" y="180"/>
                    <a:pt x="7" y="179"/>
                  </a:cubicBezTo>
                  <a:cubicBezTo>
                    <a:pt x="0" y="184"/>
                    <a:pt x="7" y="178"/>
                    <a:pt x="10" y="176"/>
                  </a:cubicBezTo>
                  <a:cubicBezTo>
                    <a:pt x="13" y="174"/>
                    <a:pt x="16" y="175"/>
                    <a:pt x="18" y="174"/>
                  </a:cubicBezTo>
                  <a:cubicBezTo>
                    <a:pt x="20" y="172"/>
                    <a:pt x="19" y="169"/>
                    <a:pt x="20" y="167"/>
                  </a:cubicBezTo>
                  <a:cubicBezTo>
                    <a:pt x="22" y="165"/>
                    <a:pt x="25" y="165"/>
                    <a:pt x="27" y="162"/>
                  </a:cubicBezTo>
                  <a:cubicBezTo>
                    <a:pt x="29" y="159"/>
                    <a:pt x="31" y="153"/>
                    <a:pt x="31" y="150"/>
                  </a:cubicBezTo>
                  <a:cubicBezTo>
                    <a:pt x="32" y="147"/>
                    <a:pt x="30" y="147"/>
                    <a:pt x="31" y="145"/>
                  </a:cubicBezTo>
                  <a:cubicBezTo>
                    <a:pt x="33" y="143"/>
                    <a:pt x="36" y="145"/>
                    <a:pt x="37" y="142"/>
                  </a:cubicBezTo>
                  <a:cubicBezTo>
                    <a:pt x="39" y="140"/>
                    <a:pt x="38" y="132"/>
                    <a:pt x="41" y="130"/>
                  </a:cubicBezTo>
                  <a:cubicBezTo>
                    <a:pt x="44" y="127"/>
                    <a:pt x="49" y="131"/>
                    <a:pt x="51" y="129"/>
                  </a:cubicBezTo>
                  <a:cubicBezTo>
                    <a:pt x="53" y="127"/>
                    <a:pt x="53" y="123"/>
                    <a:pt x="52" y="121"/>
                  </a:cubicBezTo>
                  <a:cubicBezTo>
                    <a:pt x="55" y="121"/>
                    <a:pt x="58" y="121"/>
                    <a:pt x="60" y="121"/>
                  </a:cubicBezTo>
                  <a:cubicBezTo>
                    <a:pt x="69" y="119"/>
                    <a:pt x="62" y="115"/>
                    <a:pt x="65" y="114"/>
                  </a:cubicBezTo>
                  <a:cubicBezTo>
                    <a:pt x="67" y="113"/>
                    <a:pt x="71" y="117"/>
                    <a:pt x="73" y="116"/>
                  </a:cubicBezTo>
                  <a:cubicBezTo>
                    <a:pt x="76" y="116"/>
                    <a:pt x="75" y="113"/>
                    <a:pt x="78" y="110"/>
                  </a:cubicBezTo>
                  <a:cubicBezTo>
                    <a:pt x="80" y="108"/>
                    <a:pt x="86" y="104"/>
                    <a:pt x="89" y="103"/>
                  </a:cubicBezTo>
                  <a:cubicBezTo>
                    <a:pt x="92" y="101"/>
                    <a:pt x="93" y="102"/>
                    <a:pt x="95" y="104"/>
                  </a:cubicBezTo>
                  <a:cubicBezTo>
                    <a:pt x="97" y="105"/>
                    <a:pt x="97" y="108"/>
                    <a:pt x="99" y="110"/>
                  </a:cubicBezTo>
                  <a:cubicBezTo>
                    <a:pt x="101" y="111"/>
                    <a:pt x="104" y="113"/>
                    <a:pt x="106" y="112"/>
                  </a:cubicBezTo>
                  <a:cubicBezTo>
                    <a:pt x="108" y="110"/>
                    <a:pt x="106" y="106"/>
                    <a:pt x="107" y="104"/>
                  </a:cubicBezTo>
                  <a:cubicBezTo>
                    <a:pt x="107" y="102"/>
                    <a:pt x="109" y="101"/>
                    <a:pt x="111" y="100"/>
                  </a:cubicBezTo>
                  <a:cubicBezTo>
                    <a:pt x="113" y="99"/>
                    <a:pt x="115" y="103"/>
                    <a:pt x="116" y="100"/>
                  </a:cubicBezTo>
                  <a:cubicBezTo>
                    <a:pt x="118" y="97"/>
                    <a:pt x="115" y="89"/>
                    <a:pt x="116" y="85"/>
                  </a:cubicBezTo>
                  <a:cubicBezTo>
                    <a:pt x="117" y="81"/>
                    <a:pt x="120" y="79"/>
                    <a:pt x="122" y="77"/>
                  </a:cubicBezTo>
                  <a:cubicBezTo>
                    <a:pt x="124" y="75"/>
                    <a:pt x="126" y="74"/>
                    <a:pt x="129" y="72"/>
                  </a:cubicBezTo>
                  <a:cubicBezTo>
                    <a:pt x="132" y="70"/>
                    <a:pt x="136" y="68"/>
                    <a:pt x="139" y="65"/>
                  </a:cubicBezTo>
                  <a:cubicBezTo>
                    <a:pt x="141" y="63"/>
                    <a:pt x="141" y="59"/>
                    <a:pt x="143" y="57"/>
                  </a:cubicBezTo>
                  <a:cubicBezTo>
                    <a:pt x="145" y="56"/>
                    <a:pt x="149" y="58"/>
                    <a:pt x="151" y="56"/>
                  </a:cubicBezTo>
                  <a:cubicBezTo>
                    <a:pt x="153" y="54"/>
                    <a:pt x="152" y="49"/>
                    <a:pt x="153" y="47"/>
                  </a:cubicBezTo>
                  <a:cubicBezTo>
                    <a:pt x="154" y="45"/>
                    <a:pt x="157" y="47"/>
                    <a:pt x="158" y="44"/>
                  </a:cubicBezTo>
                  <a:cubicBezTo>
                    <a:pt x="159" y="41"/>
                    <a:pt x="156" y="34"/>
                    <a:pt x="157" y="31"/>
                  </a:cubicBezTo>
                  <a:cubicBezTo>
                    <a:pt x="159" y="27"/>
                    <a:pt x="165" y="29"/>
                    <a:pt x="167" y="26"/>
                  </a:cubicBezTo>
                  <a:cubicBezTo>
                    <a:pt x="169" y="23"/>
                    <a:pt x="167" y="18"/>
                    <a:pt x="167" y="14"/>
                  </a:cubicBezTo>
                  <a:cubicBezTo>
                    <a:pt x="168" y="11"/>
                    <a:pt x="167" y="7"/>
                    <a:pt x="170" y="4"/>
                  </a:cubicBezTo>
                  <a:cubicBezTo>
                    <a:pt x="172" y="2"/>
                    <a:pt x="174" y="1"/>
                    <a:pt x="177" y="0"/>
                  </a:cubicBezTo>
                  <a:close/>
                  <a:moveTo>
                    <a:pt x="56" y="196"/>
                  </a:moveTo>
                  <a:cubicBezTo>
                    <a:pt x="56" y="197"/>
                    <a:pt x="55" y="197"/>
                    <a:pt x="55" y="197"/>
                  </a:cubicBezTo>
                  <a:cubicBezTo>
                    <a:pt x="55" y="197"/>
                    <a:pt x="56" y="197"/>
                    <a:pt x="56" y="196"/>
                  </a:cubicBezTo>
                  <a:close/>
                  <a:moveTo>
                    <a:pt x="55" y="197"/>
                  </a:moveTo>
                  <a:cubicBezTo>
                    <a:pt x="54" y="197"/>
                    <a:pt x="54" y="198"/>
                    <a:pt x="54" y="198"/>
                  </a:cubicBezTo>
                  <a:cubicBezTo>
                    <a:pt x="54" y="198"/>
                    <a:pt x="54" y="197"/>
                    <a:pt x="55" y="197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0" name="Freeform 32"/>
            <p:cNvSpPr>
              <a:spLocks noEditPoints="1"/>
            </p:cNvSpPr>
            <p:nvPr/>
          </p:nvSpPr>
          <p:spPr bwMode="auto">
            <a:xfrm rot="21439583">
              <a:off x="3883639" y="5462975"/>
              <a:ext cx="1216136" cy="727131"/>
            </a:xfrm>
            <a:custGeom>
              <a:avLst/>
              <a:gdLst/>
              <a:ahLst/>
              <a:cxnLst>
                <a:cxn ang="0">
                  <a:pos x="97" y="121"/>
                </a:cxn>
                <a:cxn ang="0">
                  <a:pos x="104" y="96"/>
                </a:cxn>
                <a:cxn ang="0">
                  <a:pos x="126" y="100"/>
                </a:cxn>
                <a:cxn ang="0">
                  <a:pos x="121" y="114"/>
                </a:cxn>
                <a:cxn ang="0">
                  <a:pos x="131" y="120"/>
                </a:cxn>
                <a:cxn ang="0">
                  <a:pos x="139" y="139"/>
                </a:cxn>
                <a:cxn ang="0">
                  <a:pos x="149" y="151"/>
                </a:cxn>
                <a:cxn ang="0">
                  <a:pos x="165" y="145"/>
                </a:cxn>
                <a:cxn ang="0">
                  <a:pos x="175" y="130"/>
                </a:cxn>
                <a:cxn ang="0">
                  <a:pos x="185" y="121"/>
                </a:cxn>
                <a:cxn ang="0">
                  <a:pos x="196" y="104"/>
                </a:cxn>
                <a:cxn ang="0">
                  <a:pos x="202" y="96"/>
                </a:cxn>
                <a:cxn ang="0">
                  <a:pos x="216" y="83"/>
                </a:cxn>
                <a:cxn ang="0">
                  <a:pos x="209" y="70"/>
                </a:cxn>
                <a:cxn ang="0">
                  <a:pos x="205" y="60"/>
                </a:cxn>
                <a:cxn ang="0">
                  <a:pos x="196" y="63"/>
                </a:cxn>
                <a:cxn ang="0">
                  <a:pos x="198" y="50"/>
                </a:cxn>
                <a:cxn ang="0">
                  <a:pos x="189" y="43"/>
                </a:cxn>
                <a:cxn ang="0">
                  <a:pos x="190" y="53"/>
                </a:cxn>
                <a:cxn ang="0">
                  <a:pos x="184" y="63"/>
                </a:cxn>
                <a:cxn ang="0">
                  <a:pos x="170" y="56"/>
                </a:cxn>
                <a:cxn ang="0">
                  <a:pos x="157" y="63"/>
                </a:cxn>
                <a:cxn ang="0">
                  <a:pos x="142" y="53"/>
                </a:cxn>
                <a:cxn ang="0">
                  <a:pos x="125" y="38"/>
                </a:cxn>
                <a:cxn ang="0">
                  <a:pos x="117" y="3"/>
                </a:cxn>
                <a:cxn ang="0">
                  <a:pos x="108" y="14"/>
                </a:cxn>
                <a:cxn ang="0">
                  <a:pos x="93" y="25"/>
                </a:cxn>
                <a:cxn ang="0">
                  <a:pos x="78" y="35"/>
                </a:cxn>
                <a:cxn ang="0">
                  <a:pos x="69" y="38"/>
                </a:cxn>
                <a:cxn ang="0">
                  <a:pos x="65" y="22"/>
                </a:cxn>
                <a:cxn ang="0">
                  <a:pos x="50" y="20"/>
                </a:cxn>
                <a:cxn ang="0">
                  <a:pos x="46" y="5"/>
                </a:cxn>
                <a:cxn ang="0">
                  <a:pos x="26" y="5"/>
                </a:cxn>
                <a:cxn ang="0">
                  <a:pos x="23" y="18"/>
                </a:cxn>
                <a:cxn ang="0">
                  <a:pos x="15" y="18"/>
                </a:cxn>
                <a:cxn ang="0">
                  <a:pos x="26" y="27"/>
                </a:cxn>
                <a:cxn ang="0">
                  <a:pos x="24" y="35"/>
                </a:cxn>
                <a:cxn ang="0">
                  <a:pos x="33" y="40"/>
                </a:cxn>
                <a:cxn ang="0">
                  <a:pos x="32" y="54"/>
                </a:cxn>
                <a:cxn ang="0">
                  <a:pos x="25" y="64"/>
                </a:cxn>
                <a:cxn ang="0">
                  <a:pos x="16" y="67"/>
                </a:cxn>
                <a:cxn ang="0">
                  <a:pos x="5" y="77"/>
                </a:cxn>
                <a:cxn ang="0">
                  <a:pos x="23" y="93"/>
                </a:cxn>
                <a:cxn ang="0">
                  <a:pos x="40" y="83"/>
                </a:cxn>
                <a:cxn ang="0">
                  <a:pos x="53" y="76"/>
                </a:cxn>
                <a:cxn ang="0">
                  <a:pos x="70" y="67"/>
                </a:cxn>
                <a:cxn ang="0">
                  <a:pos x="67" y="78"/>
                </a:cxn>
                <a:cxn ang="0">
                  <a:pos x="77" y="99"/>
                </a:cxn>
                <a:cxn ang="0">
                  <a:pos x="85" y="115"/>
                </a:cxn>
                <a:cxn ang="0">
                  <a:pos x="91" y="123"/>
                </a:cxn>
                <a:cxn ang="0">
                  <a:pos x="70" y="99"/>
                </a:cxn>
                <a:cxn ang="0">
                  <a:pos x="70" y="99"/>
                </a:cxn>
                <a:cxn ang="0">
                  <a:pos x="70" y="99"/>
                </a:cxn>
              </a:cxnLst>
              <a:rect l="0" t="0" r="r" b="b"/>
              <a:pathLst>
                <a:path w="218" h="153">
                  <a:moveTo>
                    <a:pt x="91" y="123"/>
                  </a:moveTo>
                  <a:cubicBezTo>
                    <a:pt x="93" y="123"/>
                    <a:pt x="95" y="122"/>
                    <a:pt x="97" y="121"/>
                  </a:cubicBezTo>
                  <a:cubicBezTo>
                    <a:pt x="102" y="117"/>
                    <a:pt x="96" y="108"/>
                    <a:pt x="98" y="103"/>
                  </a:cubicBezTo>
                  <a:cubicBezTo>
                    <a:pt x="99" y="99"/>
                    <a:pt x="100" y="97"/>
                    <a:pt x="104" y="96"/>
                  </a:cubicBezTo>
                  <a:cubicBezTo>
                    <a:pt x="109" y="94"/>
                    <a:pt x="121" y="94"/>
                    <a:pt x="125" y="95"/>
                  </a:cubicBezTo>
                  <a:cubicBezTo>
                    <a:pt x="129" y="96"/>
                    <a:pt x="127" y="98"/>
                    <a:pt x="126" y="100"/>
                  </a:cubicBezTo>
                  <a:cubicBezTo>
                    <a:pt x="125" y="102"/>
                    <a:pt x="121" y="103"/>
                    <a:pt x="120" y="105"/>
                  </a:cubicBezTo>
                  <a:cubicBezTo>
                    <a:pt x="119" y="108"/>
                    <a:pt x="119" y="112"/>
                    <a:pt x="121" y="114"/>
                  </a:cubicBezTo>
                  <a:cubicBezTo>
                    <a:pt x="122" y="115"/>
                    <a:pt x="125" y="113"/>
                    <a:pt x="127" y="114"/>
                  </a:cubicBezTo>
                  <a:cubicBezTo>
                    <a:pt x="129" y="115"/>
                    <a:pt x="130" y="118"/>
                    <a:pt x="131" y="120"/>
                  </a:cubicBezTo>
                  <a:cubicBezTo>
                    <a:pt x="131" y="122"/>
                    <a:pt x="128" y="123"/>
                    <a:pt x="130" y="126"/>
                  </a:cubicBezTo>
                  <a:cubicBezTo>
                    <a:pt x="131" y="129"/>
                    <a:pt x="137" y="136"/>
                    <a:pt x="139" y="139"/>
                  </a:cubicBezTo>
                  <a:cubicBezTo>
                    <a:pt x="142" y="142"/>
                    <a:pt x="143" y="143"/>
                    <a:pt x="145" y="145"/>
                  </a:cubicBezTo>
                  <a:cubicBezTo>
                    <a:pt x="147" y="147"/>
                    <a:pt x="147" y="149"/>
                    <a:pt x="149" y="151"/>
                  </a:cubicBezTo>
                  <a:cubicBezTo>
                    <a:pt x="152" y="152"/>
                    <a:pt x="155" y="153"/>
                    <a:pt x="157" y="152"/>
                  </a:cubicBezTo>
                  <a:cubicBezTo>
                    <a:pt x="160" y="150"/>
                    <a:pt x="163" y="147"/>
                    <a:pt x="165" y="145"/>
                  </a:cubicBezTo>
                  <a:cubicBezTo>
                    <a:pt x="166" y="142"/>
                    <a:pt x="165" y="140"/>
                    <a:pt x="166" y="138"/>
                  </a:cubicBezTo>
                  <a:cubicBezTo>
                    <a:pt x="168" y="135"/>
                    <a:pt x="172" y="132"/>
                    <a:pt x="175" y="130"/>
                  </a:cubicBezTo>
                  <a:cubicBezTo>
                    <a:pt x="178" y="128"/>
                    <a:pt x="181" y="129"/>
                    <a:pt x="183" y="128"/>
                  </a:cubicBezTo>
                  <a:cubicBezTo>
                    <a:pt x="185" y="126"/>
                    <a:pt x="184" y="123"/>
                    <a:pt x="185" y="121"/>
                  </a:cubicBezTo>
                  <a:cubicBezTo>
                    <a:pt x="187" y="119"/>
                    <a:pt x="190" y="119"/>
                    <a:pt x="192" y="116"/>
                  </a:cubicBezTo>
                  <a:cubicBezTo>
                    <a:pt x="194" y="113"/>
                    <a:pt x="196" y="107"/>
                    <a:pt x="196" y="104"/>
                  </a:cubicBezTo>
                  <a:cubicBezTo>
                    <a:pt x="197" y="101"/>
                    <a:pt x="195" y="101"/>
                    <a:pt x="196" y="99"/>
                  </a:cubicBezTo>
                  <a:cubicBezTo>
                    <a:pt x="198" y="97"/>
                    <a:pt x="201" y="99"/>
                    <a:pt x="202" y="96"/>
                  </a:cubicBezTo>
                  <a:cubicBezTo>
                    <a:pt x="204" y="94"/>
                    <a:pt x="203" y="86"/>
                    <a:pt x="206" y="84"/>
                  </a:cubicBezTo>
                  <a:cubicBezTo>
                    <a:pt x="209" y="81"/>
                    <a:pt x="214" y="85"/>
                    <a:pt x="216" y="83"/>
                  </a:cubicBezTo>
                  <a:cubicBezTo>
                    <a:pt x="218" y="81"/>
                    <a:pt x="218" y="77"/>
                    <a:pt x="217" y="74"/>
                  </a:cubicBezTo>
                  <a:cubicBezTo>
                    <a:pt x="216" y="72"/>
                    <a:pt x="211" y="72"/>
                    <a:pt x="209" y="70"/>
                  </a:cubicBezTo>
                  <a:cubicBezTo>
                    <a:pt x="208" y="67"/>
                    <a:pt x="211" y="63"/>
                    <a:pt x="210" y="61"/>
                  </a:cubicBezTo>
                  <a:cubicBezTo>
                    <a:pt x="209" y="58"/>
                    <a:pt x="207" y="58"/>
                    <a:pt x="205" y="60"/>
                  </a:cubicBezTo>
                  <a:cubicBezTo>
                    <a:pt x="203" y="61"/>
                    <a:pt x="204" y="67"/>
                    <a:pt x="202" y="68"/>
                  </a:cubicBezTo>
                  <a:cubicBezTo>
                    <a:pt x="199" y="69"/>
                    <a:pt x="198" y="66"/>
                    <a:pt x="196" y="63"/>
                  </a:cubicBezTo>
                  <a:cubicBezTo>
                    <a:pt x="195" y="61"/>
                    <a:pt x="194" y="57"/>
                    <a:pt x="195" y="54"/>
                  </a:cubicBezTo>
                  <a:cubicBezTo>
                    <a:pt x="195" y="52"/>
                    <a:pt x="198" y="52"/>
                    <a:pt x="198" y="50"/>
                  </a:cubicBezTo>
                  <a:cubicBezTo>
                    <a:pt x="198" y="48"/>
                    <a:pt x="198" y="45"/>
                    <a:pt x="196" y="44"/>
                  </a:cubicBezTo>
                  <a:cubicBezTo>
                    <a:pt x="194" y="42"/>
                    <a:pt x="191" y="42"/>
                    <a:pt x="189" y="43"/>
                  </a:cubicBezTo>
                  <a:cubicBezTo>
                    <a:pt x="187" y="43"/>
                    <a:pt x="186" y="45"/>
                    <a:pt x="186" y="47"/>
                  </a:cubicBezTo>
                  <a:cubicBezTo>
                    <a:pt x="186" y="49"/>
                    <a:pt x="189" y="51"/>
                    <a:pt x="190" y="53"/>
                  </a:cubicBezTo>
                  <a:cubicBezTo>
                    <a:pt x="190" y="55"/>
                    <a:pt x="191" y="58"/>
                    <a:pt x="190" y="60"/>
                  </a:cubicBezTo>
                  <a:cubicBezTo>
                    <a:pt x="188" y="62"/>
                    <a:pt x="186" y="64"/>
                    <a:pt x="184" y="63"/>
                  </a:cubicBezTo>
                  <a:cubicBezTo>
                    <a:pt x="181" y="62"/>
                    <a:pt x="180" y="57"/>
                    <a:pt x="177" y="56"/>
                  </a:cubicBezTo>
                  <a:cubicBezTo>
                    <a:pt x="175" y="55"/>
                    <a:pt x="173" y="55"/>
                    <a:pt x="170" y="56"/>
                  </a:cubicBezTo>
                  <a:cubicBezTo>
                    <a:pt x="167" y="56"/>
                    <a:pt x="162" y="57"/>
                    <a:pt x="160" y="58"/>
                  </a:cubicBezTo>
                  <a:cubicBezTo>
                    <a:pt x="158" y="59"/>
                    <a:pt x="160" y="62"/>
                    <a:pt x="157" y="63"/>
                  </a:cubicBezTo>
                  <a:cubicBezTo>
                    <a:pt x="153" y="63"/>
                    <a:pt x="146" y="64"/>
                    <a:pt x="143" y="62"/>
                  </a:cubicBezTo>
                  <a:cubicBezTo>
                    <a:pt x="140" y="60"/>
                    <a:pt x="144" y="56"/>
                    <a:pt x="142" y="53"/>
                  </a:cubicBezTo>
                  <a:cubicBezTo>
                    <a:pt x="140" y="50"/>
                    <a:pt x="134" y="50"/>
                    <a:pt x="131" y="47"/>
                  </a:cubicBezTo>
                  <a:cubicBezTo>
                    <a:pt x="128" y="45"/>
                    <a:pt x="125" y="42"/>
                    <a:pt x="125" y="38"/>
                  </a:cubicBezTo>
                  <a:cubicBezTo>
                    <a:pt x="124" y="33"/>
                    <a:pt x="128" y="27"/>
                    <a:pt x="126" y="21"/>
                  </a:cubicBezTo>
                  <a:cubicBezTo>
                    <a:pt x="125" y="15"/>
                    <a:pt x="120" y="6"/>
                    <a:pt x="117" y="3"/>
                  </a:cubicBezTo>
                  <a:cubicBezTo>
                    <a:pt x="114" y="0"/>
                    <a:pt x="114" y="4"/>
                    <a:pt x="112" y="5"/>
                  </a:cubicBezTo>
                  <a:cubicBezTo>
                    <a:pt x="111" y="7"/>
                    <a:pt x="111" y="12"/>
                    <a:pt x="108" y="14"/>
                  </a:cubicBezTo>
                  <a:cubicBezTo>
                    <a:pt x="105" y="15"/>
                    <a:pt x="100" y="12"/>
                    <a:pt x="97" y="14"/>
                  </a:cubicBezTo>
                  <a:cubicBezTo>
                    <a:pt x="94" y="17"/>
                    <a:pt x="96" y="23"/>
                    <a:pt x="93" y="25"/>
                  </a:cubicBezTo>
                  <a:cubicBezTo>
                    <a:pt x="90" y="27"/>
                    <a:pt x="86" y="24"/>
                    <a:pt x="84" y="26"/>
                  </a:cubicBezTo>
                  <a:cubicBezTo>
                    <a:pt x="81" y="28"/>
                    <a:pt x="80" y="32"/>
                    <a:pt x="78" y="35"/>
                  </a:cubicBezTo>
                  <a:cubicBezTo>
                    <a:pt x="77" y="38"/>
                    <a:pt x="77" y="43"/>
                    <a:pt x="75" y="44"/>
                  </a:cubicBezTo>
                  <a:cubicBezTo>
                    <a:pt x="72" y="45"/>
                    <a:pt x="70" y="41"/>
                    <a:pt x="69" y="38"/>
                  </a:cubicBezTo>
                  <a:cubicBezTo>
                    <a:pt x="67" y="36"/>
                    <a:pt x="67" y="32"/>
                    <a:pt x="67" y="29"/>
                  </a:cubicBezTo>
                  <a:cubicBezTo>
                    <a:pt x="66" y="26"/>
                    <a:pt x="67" y="23"/>
                    <a:pt x="65" y="22"/>
                  </a:cubicBezTo>
                  <a:cubicBezTo>
                    <a:pt x="63" y="20"/>
                    <a:pt x="59" y="21"/>
                    <a:pt x="56" y="20"/>
                  </a:cubicBezTo>
                  <a:cubicBezTo>
                    <a:pt x="54" y="20"/>
                    <a:pt x="52" y="21"/>
                    <a:pt x="50" y="20"/>
                  </a:cubicBezTo>
                  <a:cubicBezTo>
                    <a:pt x="48" y="20"/>
                    <a:pt x="46" y="19"/>
                    <a:pt x="45" y="17"/>
                  </a:cubicBezTo>
                  <a:cubicBezTo>
                    <a:pt x="44" y="14"/>
                    <a:pt x="48" y="8"/>
                    <a:pt x="46" y="5"/>
                  </a:cubicBezTo>
                  <a:cubicBezTo>
                    <a:pt x="44" y="2"/>
                    <a:pt x="42" y="2"/>
                    <a:pt x="37" y="3"/>
                  </a:cubicBezTo>
                  <a:cubicBezTo>
                    <a:pt x="34" y="4"/>
                    <a:pt x="30" y="4"/>
                    <a:pt x="26" y="5"/>
                  </a:cubicBezTo>
                  <a:cubicBezTo>
                    <a:pt x="27" y="7"/>
                    <a:pt x="27" y="9"/>
                    <a:pt x="27" y="11"/>
                  </a:cubicBezTo>
                  <a:cubicBezTo>
                    <a:pt x="26" y="14"/>
                    <a:pt x="25" y="17"/>
                    <a:pt x="23" y="18"/>
                  </a:cubicBezTo>
                  <a:cubicBezTo>
                    <a:pt x="21" y="19"/>
                    <a:pt x="17" y="16"/>
                    <a:pt x="15" y="17"/>
                  </a:cubicBezTo>
                  <a:cubicBezTo>
                    <a:pt x="15" y="17"/>
                    <a:pt x="14" y="18"/>
                    <a:pt x="15" y="18"/>
                  </a:cubicBezTo>
                  <a:cubicBezTo>
                    <a:pt x="17" y="22"/>
                    <a:pt x="18" y="26"/>
                    <a:pt x="20" y="27"/>
                  </a:cubicBezTo>
                  <a:cubicBezTo>
                    <a:pt x="24" y="30"/>
                    <a:pt x="24" y="27"/>
                    <a:pt x="26" y="27"/>
                  </a:cubicBezTo>
                  <a:cubicBezTo>
                    <a:pt x="27" y="28"/>
                    <a:pt x="29" y="29"/>
                    <a:pt x="29" y="31"/>
                  </a:cubicBezTo>
                  <a:cubicBezTo>
                    <a:pt x="28" y="32"/>
                    <a:pt x="24" y="33"/>
                    <a:pt x="24" y="35"/>
                  </a:cubicBezTo>
                  <a:cubicBezTo>
                    <a:pt x="24" y="37"/>
                    <a:pt x="26" y="37"/>
                    <a:pt x="28" y="38"/>
                  </a:cubicBezTo>
                  <a:cubicBezTo>
                    <a:pt x="29" y="39"/>
                    <a:pt x="32" y="39"/>
                    <a:pt x="33" y="40"/>
                  </a:cubicBezTo>
                  <a:cubicBezTo>
                    <a:pt x="34" y="42"/>
                    <a:pt x="35" y="44"/>
                    <a:pt x="34" y="46"/>
                  </a:cubicBezTo>
                  <a:cubicBezTo>
                    <a:pt x="34" y="48"/>
                    <a:pt x="34" y="52"/>
                    <a:pt x="32" y="54"/>
                  </a:cubicBezTo>
                  <a:cubicBezTo>
                    <a:pt x="30" y="56"/>
                    <a:pt x="26" y="54"/>
                    <a:pt x="25" y="56"/>
                  </a:cubicBezTo>
                  <a:cubicBezTo>
                    <a:pt x="24" y="58"/>
                    <a:pt x="27" y="62"/>
                    <a:pt x="25" y="64"/>
                  </a:cubicBezTo>
                  <a:cubicBezTo>
                    <a:pt x="23" y="65"/>
                    <a:pt x="20" y="61"/>
                    <a:pt x="18" y="61"/>
                  </a:cubicBezTo>
                  <a:cubicBezTo>
                    <a:pt x="16" y="62"/>
                    <a:pt x="19" y="66"/>
                    <a:pt x="16" y="67"/>
                  </a:cubicBezTo>
                  <a:cubicBezTo>
                    <a:pt x="13" y="67"/>
                    <a:pt x="6" y="63"/>
                    <a:pt x="3" y="66"/>
                  </a:cubicBezTo>
                  <a:cubicBezTo>
                    <a:pt x="0" y="68"/>
                    <a:pt x="8" y="74"/>
                    <a:pt x="5" y="77"/>
                  </a:cubicBezTo>
                  <a:cubicBezTo>
                    <a:pt x="9" y="79"/>
                    <a:pt x="12" y="80"/>
                    <a:pt x="15" y="82"/>
                  </a:cubicBezTo>
                  <a:cubicBezTo>
                    <a:pt x="18" y="85"/>
                    <a:pt x="20" y="91"/>
                    <a:pt x="23" y="93"/>
                  </a:cubicBezTo>
                  <a:cubicBezTo>
                    <a:pt x="27" y="94"/>
                    <a:pt x="31" y="94"/>
                    <a:pt x="34" y="92"/>
                  </a:cubicBezTo>
                  <a:cubicBezTo>
                    <a:pt x="38" y="90"/>
                    <a:pt x="39" y="86"/>
                    <a:pt x="40" y="83"/>
                  </a:cubicBezTo>
                  <a:cubicBezTo>
                    <a:pt x="42" y="79"/>
                    <a:pt x="40" y="74"/>
                    <a:pt x="43" y="72"/>
                  </a:cubicBezTo>
                  <a:cubicBezTo>
                    <a:pt x="47" y="70"/>
                    <a:pt x="50" y="77"/>
                    <a:pt x="53" y="76"/>
                  </a:cubicBezTo>
                  <a:cubicBezTo>
                    <a:pt x="56" y="76"/>
                    <a:pt x="54" y="72"/>
                    <a:pt x="57" y="70"/>
                  </a:cubicBezTo>
                  <a:cubicBezTo>
                    <a:pt x="61" y="68"/>
                    <a:pt x="67" y="67"/>
                    <a:pt x="70" y="67"/>
                  </a:cubicBezTo>
                  <a:cubicBezTo>
                    <a:pt x="73" y="68"/>
                    <a:pt x="73" y="71"/>
                    <a:pt x="72" y="73"/>
                  </a:cubicBezTo>
                  <a:cubicBezTo>
                    <a:pt x="71" y="75"/>
                    <a:pt x="67" y="74"/>
                    <a:pt x="67" y="78"/>
                  </a:cubicBezTo>
                  <a:cubicBezTo>
                    <a:pt x="67" y="83"/>
                    <a:pt x="70" y="91"/>
                    <a:pt x="70" y="97"/>
                  </a:cubicBezTo>
                  <a:cubicBezTo>
                    <a:pt x="74" y="97"/>
                    <a:pt x="75" y="98"/>
                    <a:pt x="77" y="99"/>
                  </a:cubicBezTo>
                  <a:cubicBezTo>
                    <a:pt x="80" y="100"/>
                    <a:pt x="82" y="101"/>
                    <a:pt x="84" y="104"/>
                  </a:cubicBezTo>
                  <a:cubicBezTo>
                    <a:pt x="85" y="107"/>
                    <a:pt x="84" y="112"/>
                    <a:pt x="85" y="115"/>
                  </a:cubicBezTo>
                  <a:cubicBezTo>
                    <a:pt x="86" y="118"/>
                    <a:pt x="88" y="119"/>
                    <a:pt x="90" y="121"/>
                  </a:cubicBezTo>
                  <a:cubicBezTo>
                    <a:pt x="90" y="122"/>
                    <a:pt x="91" y="123"/>
                    <a:pt x="91" y="123"/>
                  </a:cubicBezTo>
                  <a:close/>
                  <a:moveTo>
                    <a:pt x="70" y="99"/>
                  </a:moveTo>
                  <a:lnTo>
                    <a:pt x="70" y="99"/>
                  </a:ln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1" name="Freeform 39"/>
            <p:cNvSpPr>
              <a:spLocks/>
            </p:cNvSpPr>
            <p:nvPr/>
          </p:nvSpPr>
          <p:spPr bwMode="auto">
            <a:xfrm rot="21439583">
              <a:off x="2304712" y="3906331"/>
              <a:ext cx="814091" cy="1311220"/>
            </a:xfrm>
            <a:custGeom>
              <a:avLst/>
              <a:gdLst/>
              <a:ahLst/>
              <a:cxnLst>
                <a:cxn ang="0">
                  <a:pos x="4" y="241"/>
                </a:cxn>
                <a:cxn ang="0">
                  <a:pos x="4" y="232"/>
                </a:cxn>
                <a:cxn ang="0">
                  <a:pos x="9" y="217"/>
                </a:cxn>
                <a:cxn ang="0">
                  <a:pos x="21" y="213"/>
                </a:cxn>
                <a:cxn ang="0">
                  <a:pos x="19" y="193"/>
                </a:cxn>
                <a:cxn ang="0">
                  <a:pos x="15" y="176"/>
                </a:cxn>
                <a:cxn ang="0">
                  <a:pos x="31" y="167"/>
                </a:cxn>
                <a:cxn ang="0">
                  <a:pos x="37" y="152"/>
                </a:cxn>
                <a:cxn ang="0">
                  <a:pos x="45" y="143"/>
                </a:cxn>
                <a:cxn ang="0">
                  <a:pos x="56" y="148"/>
                </a:cxn>
                <a:cxn ang="0">
                  <a:pos x="64" y="137"/>
                </a:cxn>
                <a:cxn ang="0">
                  <a:pos x="72" y="124"/>
                </a:cxn>
                <a:cxn ang="0">
                  <a:pos x="80" y="116"/>
                </a:cxn>
                <a:cxn ang="0">
                  <a:pos x="79" y="98"/>
                </a:cxn>
                <a:cxn ang="0">
                  <a:pos x="71" y="87"/>
                </a:cxn>
                <a:cxn ang="0">
                  <a:pos x="65" y="79"/>
                </a:cxn>
                <a:cxn ang="0">
                  <a:pos x="75" y="73"/>
                </a:cxn>
                <a:cxn ang="0">
                  <a:pos x="60" y="63"/>
                </a:cxn>
                <a:cxn ang="0">
                  <a:pos x="77" y="40"/>
                </a:cxn>
                <a:cxn ang="0">
                  <a:pos x="90" y="18"/>
                </a:cxn>
                <a:cxn ang="0">
                  <a:pos x="101" y="1"/>
                </a:cxn>
                <a:cxn ang="0">
                  <a:pos x="121" y="5"/>
                </a:cxn>
                <a:cxn ang="0">
                  <a:pos x="138" y="12"/>
                </a:cxn>
                <a:cxn ang="0">
                  <a:pos x="145" y="26"/>
                </a:cxn>
                <a:cxn ang="0">
                  <a:pos x="139" y="53"/>
                </a:cxn>
                <a:cxn ang="0">
                  <a:pos x="135" y="70"/>
                </a:cxn>
                <a:cxn ang="0">
                  <a:pos x="126" y="85"/>
                </a:cxn>
                <a:cxn ang="0">
                  <a:pos x="123" y="104"/>
                </a:cxn>
                <a:cxn ang="0">
                  <a:pos x="120" y="127"/>
                </a:cxn>
                <a:cxn ang="0">
                  <a:pos x="122" y="144"/>
                </a:cxn>
                <a:cxn ang="0">
                  <a:pos x="126" y="160"/>
                </a:cxn>
                <a:cxn ang="0">
                  <a:pos x="126" y="171"/>
                </a:cxn>
                <a:cxn ang="0">
                  <a:pos x="116" y="173"/>
                </a:cxn>
                <a:cxn ang="0">
                  <a:pos x="107" y="175"/>
                </a:cxn>
                <a:cxn ang="0">
                  <a:pos x="94" y="194"/>
                </a:cxn>
                <a:cxn ang="0">
                  <a:pos x="84" y="203"/>
                </a:cxn>
                <a:cxn ang="0">
                  <a:pos x="94" y="217"/>
                </a:cxn>
                <a:cxn ang="0">
                  <a:pos x="98" y="238"/>
                </a:cxn>
                <a:cxn ang="0">
                  <a:pos x="86" y="243"/>
                </a:cxn>
                <a:cxn ang="0">
                  <a:pos x="70" y="232"/>
                </a:cxn>
                <a:cxn ang="0">
                  <a:pos x="75" y="250"/>
                </a:cxn>
                <a:cxn ang="0">
                  <a:pos x="82" y="272"/>
                </a:cxn>
                <a:cxn ang="0">
                  <a:pos x="68" y="270"/>
                </a:cxn>
                <a:cxn ang="0">
                  <a:pos x="56" y="273"/>
                </a:cxn>
                <a:cxn ang="0">
                  <a:pos x="54" y="257"/>
                </a:cxn>
                <a:cxn ang="0">
                  <a:pos x="36" y="255"/>
                </a:cxn>
                <a:cxn ang="0">
                  <a:pos x="26" y="247"/>
                </a:cxn>
                <a:cxn ang="0">
                  <a:pos x="15" y="240"/>
                </a:cxn>
              </a:cxnLst>
              <a:rect l="0" t="0" r="r" b="b"/>
              <a:pathLst>
                <a:path w="146" h="276">
                  <a:moveTo>
                    <a:pt x="5" y="246"/>
                  </a:moveTo>
                  <a:cubicBezTo>
                    <a:pt x="5" y="244"/>
                    <a:pt x="4" y="242"/>
                    <a:pt x="4" y="241"/>
                  </a:cubicBezTo>
                  <a:cubicBezTo>
                    <a:pt x="3" y="238"/>
                    <a:pt x="0" y="238"/>
                    <a:pt x="0" y="236"/>
                  </a:cubicBezTo>
                  <a:cubicBezTo>
                    <a:pt x="0" y="234"/>
                    <a:pt x="3" y="234"/>
                    <a:pt x="4" y="232"/>
                  </a:cubicBezTo>
                  <a:cubicBezTo>
                    <a:pt x="5" y="230"/>
                    <a:pt x="7" y="227"/>
                    <a:pt x="8" y="225"/>
                  </a:cubicBezTo>
                  <a:cubicBezTo>
                    <a:pt x="9" y="222"/>
                    <a:pt x="8" y="219"/>
                    <a:pt x="9" y="217"/>
                  </a:cubicBezTo>
                  <a:cubicBezTo>
                    <a:pt x="10" y="215"/>
                    <a:pt x="11" y="214"/>
                    <a:pt x="13" y="214"/>
                  </a:cubicBezTo>
                  <a:cubicBezTo>
                    <a:pt x="16" y="213"/>
                    <a:pt x="20" y="217"/>
                    <a:pt x="21" y="213"/>
                  </a:cubicBezTo>
                  <a:cubicBezTo>
                    <a:pt x="23" y="209"/>
                    <a:pt x="23" y="199"/>
                    <a:pt x="23" y="195"/>
                  </a:cubicBezTo>
                  <a:cubicBezTo>
                    <a:pt x="22" y="191"/>
                    <a:pt x="19" y="195"/>
                    <a:pt x="19" y="193"/>
                  </a:cubicBezTo>
                  <a:cubicBezTo>
                    <a:pt x="18" y="190"/>
                    <a:pt x="21" y="184"/>
                    <a:pt x="20" y="181"/>
                  </a:cubicBezTo>
                  <a:cubicBezTo>
                    <a:pt x="20" y="178"/>
                    <a:pt x="16" y="178"/>
                    <a:pt x="15" y="176"/>
                  </a:cubicBezTo>
                  <a:cubicBezTo>
                    <a:pt x="14" y="174"/>
                    <a:pt x="14" y="174"/>
                    <a:pt x="17" y="172"/>
                  </a:cubicBezTo>
                  <a:cubicBezTo>
                    <a:pt x="20" y="170"/>
                    <a:pt x="28" y="170"/>
                    <a:pt x="31" y="167"/>
                  </a:cubicBezTo>
                  <a:cubicBezTo>
                    <a:pt x="34" y="163"/>
                    <a:pt x="30" y="155"/>
                    <a:pt x="32" y="152"/>
                  </a:cubicBezTo>
                  <a:cubicBezTo>
                    <a:pt x="33" y="149"/>
                    <a:pt x="36" y="153"/>
                    <a:pt x="37" y="152"/>
                  </a:cubicBezTo>
                  <a:cubicBezTo>
                    <a:pt x="39" y="150"/>
                    <a:pt x="38" y="145"/>
                    <a:pt x="40" y="143"/>
                  </a:cubicBezTo>
                  <a:cubicBezTo>
                    <a:pt x="41" y="142"/>
                    <a:pt x="43" y="142"/>
                    <a:pt x="45" y="143"/>
                  </a:cubicBezTo>
                  <a:cubicBezTo>
                    <a:pt x="46" y="144"/>
                    <a:pt x="46" y="148"/>
                    <a:pt x="48" y="149"/>
                  </a:cubicBezTo>
                  <a:cubicBezTo>
                    <a:pt x="50" y="151"/>
                    <a:pt x="54" y="150"/>
                    <a:pt x="56" y="148"/>
                  </a:cubicBezTo>
                  <a:cubicBezTo>
                    <a:pt x="58" y="147"/>
                    <a:pt x="56" y="143"/>
                    <a:pt x="57" y="141"/>
                  </a:cubicBezTo>
                  <a:cubicBezTo>
                    <a:pt x="59" y="139"/>
                    <a:pt x="63" y="140"/>
                    <a:pt x="64" y="137"/>
                  </a:cubicBezTo>
                  <a:cubicBezTo>
                    <a:pt x="65" y="134"/>
                    <a:pt x="62" y="127"/>
                    <a:pt x="64" y="124"/>
                  </a:cubicBezTo>
                  <a:cubicBezTo>
                    <a:pt x="66" y="121"/>
                    <a:pt x="70" y="123"/>
                    <a:pt x="72" y="124"/>
                  </a:cubicBezTo>
                  <a:cubicBezTo>
                    <a:pt x="75" y="125"/>
                    <a:pt x="77" y="131"/>
                    <a:pt x="80" y="129"/>
                  </a:cubicBezTo>
                  <a:cubicBezTo>
                    <a:pt x="82" y="126"/>
                    <a:pt x="81" y="119"/>
                    <a:pt x="80" y="116"/>
                  </a:cubicBezTo>
                  <a:cubicBezTo>
                    <a:pt x="80" y="112"/>
                    <a:pt x="75" y="111"/>
                    <a:pt x="74" y="108"/>
                  </a:cubicBezTo>
                  <a:cubicBezTo>
                    <a:pt x="74" y="105"/>
                    <a:pt x="78" y="101"/>
                    <a:pt x="79" y="98"/>
                  </a:cubicBezTo>
                  <a:cubicBezTo>
                    <a:pt x="79" y="95"/>
                    <a:pt x="79" y="92"/>
                    <a:pt x="77" y="90"/>
                  </a:cubicBezTo>
                  <a:cubicBezTo>
                    <a:pt x="76" y="88"/>
                    <a:pt x="73" y="87"/>
                    <a:pt x="71" y="87"/>
                  </a:cubicBezTo>
                  <a:cubicBezTo>
                    <a:pt x="69" y="86"/>
                    <a:pt x="66" y="87"/>
                    <a:pt x="65" y="85"/>
                  </a:cubicBezTo>
                  <a:cubicBezTo>
                    <a:pt x="63" y="84"/>
                    <a:pt x="63" y="81"/>
                    <a:pt x="65" y="79"/>
                  </a:cubicBezTo>
                  <a:cubicBezTo>
                    <a:pt x="67" y="78"/>
                    <a:pt x="72" y="79"/>
                    <a:pt x="74" y="78"/>
                  </a:cubicBezTo>
                  <a:cubicBezTo>
                    <a:pt x="76" y="77"/>
                    <a:pt x="77" y="75"/>
                    <a:pt x="75" y="73"/>
                  </a:cubicBezTo>
                  <a:cubicBezTo>
                    <a:pt x="73" y="72"/>
                    <a:pt x="66" y="71"/>
                    <a:pt x="64" y="69"/>
                  </a:cubicBezTo>
                  <a:cubicBezTo>
                    <a:pt x="61" y="67"/>
                    <a:pt x="59" y="67"/>
                    <a:pt x="60" y="63"/>
                  </a:cubicBezTo>
                  <a:cubicBezTo>
                    <a:pt x="62" y="59"/>
                    <a:pt x="68" y="53"/>
                    <a:pt x="70" y="49"/>
                  </a:cubicBezTo>
                  <a:cubicBezTo>
                    <a:pt x="73" y="45"/>
                    <a:pt x="75" y="44"/>
                    <a:pt x="77" y="40"/>
                  </a:cubicBezTo>
                  <a:cubicBezTo>
                    <a:pt x="79" y="35"/>
                    <a:pt x="80" y="27"/>
                    <a:pt x="82" y="23"/>
                  </a:cubicBezTo>
                  <a:cubicBezTo>
                    <a:pt x="84" y="20"/>
                    <a:pt x="88" y="21"/>
                    <a:pt x="90" y="18"/>
                  </a:cubicBezTo>
                  <a:cubicBezTo>
                    <a:pt x="92" y="15"/>
                    <a:pt x="92" y="11"/>
                    <a:pt x="94" y="8"/>
                  </a:cubicBezTo>
                  <a:cubicBezTo>
                    <a:pt x="96" y="5"/>
                    <a:pt x="98" y="2"/>
                    <a:pt x="101" y="1"/>
                  </a:cubicBezTo>
                  <a:cubicBezTo>
                    <a:pt x="104" y="0"/>
                    <a:pt x="108" y="1"/>
                    <a:pt x="112" y="2"/>
                  </a:cubicBezTo>
                  <a:cubicBezTo>
                    <a:pt x="115" y="2"/>
                    <a:pt x="117" y="4"/>
                    <a:pt x="121" y="5"/>
                  </a:cubicBezTo>
                  <a:cubicBezTo>
                    <a:pt x="124" y="6"/>
                    <a:pt x="130" y="5"/>
                    <a:pt x="133" y="6"/>
                  </a:cubicBezTo>
                  <a:cubicBezTo>
                    <a:pt x="136" y="7"/>
                    <a:pt x="136" y="11"/>
                    <a:pt x="138" y="12"/>
                  </a:cubicBezTo>
                  <a:cubicBezTo>
                    <a:pt x="140" y="13"/>
                    <a:pt x="142" y="13"/>
                    <a:pt x="144" y="13"/>
                  </a:cubicBezTo>
                  <a:cubicBezTo>
                    <a:pt x="144" y="15"/>
                    <a:pt x="146" y="22"/>
                    <a:pt x="145" y="26"/>
                  </a:cubicBezTo>
                  <a:cubicBezTo>
                    <a:pt x="144" y="29"/>
                    <a:pt x="141" y="28"/>
                    <a:pt x="140" y="33"/>
                  </a:cubicBezTo>
                  <a:cubicBezTo>
                    <a:pt x="139" y="38"/>
                    <a:pt x="140" y="49"/>
                    <a:pt x="139" y="53"/>
                  </a:cubicBezTo>
                  <a:cubicBezTo>
                    <a:pt x="138" y="58"/>
                    <a:pt x="134" y="55"/>
                    <a:pt x="133" y="58"/>
                  </a:cubicBezTo>
                  <a:cubicBezTo>
                    <a:pt x="133" y="61"/>
                    <a:pt x="137" y="67"/>
                    <a:pt x="135" y="70"/>
                  </a:cubicBezTo>
                  <a:cubicBezTo>
                    <a:pt x="133" y="73"/>
                    <a:pt x="126" y="68"/>
                    <a:pt x="124" y="72"/>
                  </a:cubicBezTo>
                  <a:cubicBezTo>
                    <a:pt x="122" y="75"/>
                    <a:pt x="126" y="82"/>
                    <a:pt x="126" y="85"/>
                  </a:cubicBezTo>
                  <a:cubicBezTo>
                    <a:pt x="125" y="88"/>
                    <a:pt x="122" y="88"/>
                    <a:pt x="121" y="91"/>
                  </a:cubicBezTo>
                  <a:cubicBezTo>
                    <a:pt x="121" y="94"/>
                    <a:pt x="123" y="100"/>
                    <a:pt x="123" y="104"/>
                  </a:cubicBezTo>
                  <a:cubicBezTo>
                    <a:pt x="123" y="109"/>
                    <a:pt x="122" y="114"/>
                    <a:pt x="122" y="117"/>
                  </a:cubicBezTo>
                  <a:cubicBezTo>
                    <a:pt x="121" y="121"/>
                    <a:pt x="121" y="125"/>
                    <a:pt x="120" y="127"/>
                  </a:cubicBezTo>
                  <a:cubicBezTo>
                    <a:pt x="119" y="130"/>
                    <a:pt x="116" y="131"/>
                    <a:pt x="117" y="134"/>
                  </a:cubicBezTo>
                  <a:cubicBezTo>
                    <a:pt x="117" y="137"/>
                    <a:pt x="121" y="140"/>
                    <a:pt x="122" y="144"/>
                  </a:cubicBezTo>
                  <a:cubicBezTo>
                    <a:pt x="123" y="147"/>
                    <a:pt x="119" y="151"/>
                    <a:pt x="120" y="154"/>
                  </a:cubicBezTo>
                  <a:cubicBezTo>
                    <a:pt x="121" y="157"/>
                    <a:pt x="125" y="157"/>
                    <a:pt x="126" y="160"/>
                  </a:cubicBezTo>
                  <a:cubicBezTo>
                    <a:pt x="126" y="162"/>
                    <a:pt x="122" y="163"/>
                    <a:pt x="123" y="167"/>
                  </a:cubicBezTo>
                  <a:cubicBezTo>
                    <a:pt x="124" y="168"/>
                    <a:pt x="124" y="169"/>
                    <a:pt x="126" y="171"/>
                  </a:cubicBezTo>
                  <a:cubicBezTo>
                    <a:pt x="122" y="169"/>
                    <a:pt x="119" y="167"/>
                    <a:pt x="117" y="167"/>
                  </a:cubicBezTo>
                  <a:cubicBezTo>
                    <a:pt x="113" y="168"/>
                    <a:pt x="116" y="171"/>
                    <a:pt x="116" y="173"/>
                  </a:cubicBezTo>
                  <a:cubicBezTo>
                    <a:pt x="116" y="175"/>
                    <a:pt x="120" y="178"/>
                    <a:pt x="117" y="179"/>
                  </a:cubicBezTo>
                  <a:cubicBezTo>
                    <a:pt x="114" y="180"/>
                    <a:pt x="110" y="172"/>
                    <a:pt x="107" y="175"/>
                  </a:cubicBezTo>
                  <a:cubicBezTo>
                    <a:pt x="103" y="178"/>
                    <a:pt x="106" y="188"/>
                    <a:pt x="104" y="192"/>
                  </a:cubicBezTo>
                  <a:cubicBezTo>
                    <a:pt x="101" y="196"/>
                    <a:pt x="98" y="194"/>
                    <a:pt x="94" y="194"/>
                  </a:cubicBezTo>
                  <a:cubicBezTo>
                    <a:pt x="91" y="194"/>
                    <a:pt x="85" y="192"/>
                    <a:pt x="82" y="194"/>
                  </a:cubicBezTo>
                  <a:cubicBezTo>
                    <a:pt x="80" y="196"/>
                    <a:pt x="84" y="201"/>
                    <a:pt x="84" y="203"/>
                  </a:cubicBezTo>
                  <a:cubicBezTo>
                    <a:pt x="84" y="204"/>
                    <a:pt x="85" y="209"/>
                    <a:pt x="87" y="211"/>
                  </a:cubicBezTo>
                  <a:cubicBezTo>
                    <a:pt x="89" y="212"/>
                    <a:pt x="94" y="217"/>
                    <a:pt x="94" y="217"/>
                  </a:cubicBezTo>
                  <a:cubicBezTo>
                    <a:pt x="94" y="217"/>
                    <a:pt x="97" y="222"/>
                    <a:pt x="98" y="225"/>
                  </a:cubicBezTo>
                  <a:cubicBezTo>
                    <a:pt x="98" y="227"/>
                    <a:pt x="98" y="237"/>
                    <a:pt x="98" y="238"/>
                  </a:cubicBezTo>
                  <a:cubicBezTo>
                    <a:pt x="97" y="239"/>
                    <a:pt x="95" y="242"/>
                    <a:pt x="93" y="243"/>
                  </a:cubicBezTo>
                  <a:cubicBezTo>
                    <a:pt x="91" y="244"/>
                    <a:pt x="89" y="245"/>
                    <a:pt x="86" y="243"/>
                  </a:cubicBezTo>
                  <a:cubicBezTo>
                    <a:pt x="83" y="242"/>
                    <a:pt x="81" y="236"/>
                    <a:pt x="78" y="234"/>
                  </a:cubicBezTo>
                  <a:cubicBezTo>
                    <a:pt x="75" y="233"/>
                    <a:pt x="72" y="229"/>
                    <a:pt x="70" y="232"/>
                  </a:cubicBezTo>
                  <a:cubicBezTo>
                    <a:pt x="68" y="235"/>
                    <a:pt x="70" y="242"/>
                    <a:pt x="71" y="245"/>
                  </a:cubicBezTo>
                  <a:cubicBezTo>
                    <a:pt x="72" y="248"/>
                    <a:pt x="74" y="249"/>
                    <a:pt x="75" y="250"/>
                  </a:cubicBezTo>
                  <a:cubicBezTo>
                    <a:pt x="77" y="252"/>
                    <a:pt x="80" y="251"/>
                    <a:pt x="81" y="255"/>
                  </a:cubicBezTo>
                  <a:cubicBezTo>
                    <a:pt x="82" y="259"/>
                    <a:pt x="83" y="268"/>
                    <a:pt x="82" y="272"/>
                  </a:cubicBezTo>
                  <a:cubicBezTo>
                    <a:pt x="80" y="276"/>
                    <a:pt x="77" y="275"/>
                    <a:pt x="75" y="274"/>
                  </a:cubicBezTo>
                  <a:cubicBezTo>
                    <a:pt x="72" y="274"/>
                    <a:pt x="70" y="271"/>
                    <a:pt x="68" y="270"/>
                  </a:cubicBezTo>
                  <a:cubicBezTo>
                    <a:pt x="66" y="269"/>
                    <a:pt x="66" y="266"/>
                    <a:pt x="63" y="267"/>
                  </a:cubicBezTo>
                  <a:cubicBezTo>
                    <a:pt x="60" y="267"/>
                    <a:pt x="58" y="273"/>
                    <a:pt x="56" y="273"/>
                  </a:cubicBezTo>
                  <a:cubicBezTo>
                    <a:pt x="53" y="273"/>
                    <a:pt x="55" y="269"/>
                    <a:pt x="54" y="267"/>
                  </a:cubicBezTo>
                  <a:cubicBezTo>
                    <a:pt x="54" y="264"/>
                    <a:pt x="55" y="259"/>
                    <a:pt x="54" y="257"/>
                  </a:cubicBezTo>
                  <a:cubicBezTo>
                    <a:pt x="52" y="254"/>
                    <a:pt x="48" y="253"/>
                    <a:pt x="45" y="253"/>
                  </a:cubicBezTo>
                  <a:cubicBezTo>
                    <a:pt x="42" y="252"/>
                    <a:pt x="39" y="254"/>
                    <a:pt x="36" y="255"/>
                  </a:cubicBezTo>
                  <a:cubicBezTo>
                    <a:pt x="33" y="255"/>
                    <a:pt x="29" y="256"/>
                    <a:pt x="27" y="255"/>
                  </a:cubicBezTo>
                  <a:cubicBezTo>
                    <a:pt x="24" y="253"/>
                    <a:pt x="27" y="249"/>
                    <a:pt x="26" y="247"/>
                  </a:cubicBezTo>
                  <a:cubicBezTo>
                    <a:pt x="24" y="245"/>
                    <a:pt x="21" y="245"/>
                    <a:pt x="19" y="244"/>
                  </a:cubicBezTo>
                  <a:cubicBezTo>
                    <a:pt x="17" y="243"/>
                    <a:pt x="21" y="241"/>
                    <a:pt x="15" y="240"/>
                  </a:cubicBezTo>
                  <a:cubicBezTo>
                    <a:pt x="12" y="240"/>
                    <a:pt x="9" y="243"/>
                    <a:pt x="5" y="24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2" name="Freeform 11"/>
            <p:cNvSpPr>
              <a:spLocks/>
            </p:cNvSpPr>
            <p:nvPr/>
          </p:nvSpPr>
          <p:spPr bwMode="auto">
            <a:xfrm rot="21439583">
              <a:off x="4449147" y="1136389"/>
              <a:ext cx="1462164" cy="2828490"/>
            </a:xfrm>
            <a:custGeom>
              <a:avLst/>
              <a:gdLst/>
              <a:ahLst/>
              <a:cxnLst>
                <a:cxn ang="0">
                  <a:pos x="29" y="581"/>
                </a:cxn>
                <a:cxn ang="0">
                  <a:pos x="45" y="592"/>
                </a:cxn>
                <a:cxn ang="0">
                  <a:pos x="64" y="557"/>
                </a:cxn>
                <a:cxn ang="0">
                  <a:pos x="106" y="544"/>
                </a:cxn>
                <a:cxn ang="0">
                  <a:pos x="128" y="538"/>
                </a:cxn>
                <a:cxn ang="0">
                  <a:pos x="134" y="509"/>
                </a:cxn>
                <a:cxn ang="0">
                  <a:pos x="157" y="494"/>
                </a:cxn>
                <a:cxn ang="0">
                  <a:pos x="169" y="522"/>
                </a:cxn>
                <a:cxn ang="0">
                  <a:pos x="184" y="518"/>
                </a:cxn>
                <a:cxn ang="0">
                  <a:pos x="194" y="491"/>
                </a:cxn>
                <a:cxn ang="0">
                  <a:pos x="221" y="472"/>
                </a:cxn>
                <a:cxn ang="0">
                  <a:pos x="224" y="444"/>
                </a:cxn>
                <a:cxn ang="0">
                  <a:pos x="222" y="413"/>
                </a:cxn>
                <a:cxn ang="0">
                  <a:pos x="231" y="389"/>
                </a:cxn>
                <a:cxn ang="0">
                  <a:pos x="237" y="352"/>
                </a:cxn>
                <a:cxn ang="0">
                  <a:pos x="246" y="319"/>
                </a:cxn>
                <a:cxn ang="0">
                  <a:pos x="257" y="289"/>
                </a:cxn>
                <a:cxn ang="0">
                  <a:pos x="255" y="268"/>
                </a:cxn>
                <a:cxn ang="0">
                  <a:pos x="242" y="265"/>
                </a:cxn>
                <a:cxn ang="0">
                  <a:pos x="228" y="243"/>
                </a:cxn>
                <a:cxn ang="0">
                  <a:pos x="215" y="218"/>
                </a:cxn>
                <a:cxn ang="0">
                  <a:pos x="222" y="199"/>
                </a:cxn>
                <a:cxn ang="0">
                  <a:pos x="229" y="170"/>
                </a:cxn>
                <a:cxn ang="0">
                  <a:pos x="213" y="167"/>
                </a:cxn>
                <a:cxn ang="0">
                  <a:pos x="201" y="146"/>
                </a:cxn>
                <a:cxn ang="0">
                  <a:pos x="211" y="131"/>
                </a:cxn>
                <a:cxn ang="0">
                  <a:pos x="203" y="103"/>
                </a:cxn>
                <a:cxn ang="0">
                  <a:pos x="192" y="74"/>
                </a:cxn>
                <a:cxn ang="0">
                  <a:pos x="149" y="62"/>
                </a:cxn>
                <a:cxn ang="0">
                  <a:pos x="157" y="42"/>
                </a:cxn>
                <a:cxn ang="0">
                  <a:pos x="166" y="31"/>
                </a:cxn>
                <a:cxn ang="0">
                  <a:pos x="159" y="7"/>
                </a:cxn>
                <a:cxn ang="0">
                  <a:pos x="147" y="14"/>
                </a:cxn>
                <a:cxn ang="0">
                  <a:pos x="126" y="30"/>
                </a:cxn>
                <a:cxn ang="0">
                  <a:pos x="107" y="40"/>
                </a:cxn>
                <a:cxn ang="0">
                  <a:pos x="89" y="45"/>
                </a:cxn>
                <a:cxn ang="0">
                  <a:pos x="86" y="76"/>
                </a:cxn>
                <a:cxn ang="0">
                  <a:pos x="82" y="90"/>
                </a:cxn>
                <a:cxn ang="0">
                  <a:pos x="70" y="123"/>
                </a:cxn>
                <a:cxn ang="0">
                  <a:pos x="83" y="144"/>
                </a:cxn>
                <a:cxn ang="0">
                  <a:pos x="98" y="163"/>
                </a:cxn>
                <a:cxn ang="0">
                  <a:pos x="79" y="204"/>
                </a:cxn>
                <a:cxn ang="0">
                  <a:pos x="65" y="220"/>
                </a:cxn>
                <a:cxn ang="0">
                  <a:pos x="64" y="239"/>
                </a:cxn>
                <a:cxn ang="0">
                  <a:pos x="38" y="248"/>
                </a:cxn>
                <a:cxn ang="0">
                  <a:pos x="15" y="263"/>
                </a:cxn>
                <a:cxn ang="0">
                  <a:pos x="18" y="289"/>
                </a:cxn>
                <a:cxn ang="0">
                  <a:pos x="0" y="315"/>
                </a:cxn>
                <a:cxn ang="0">
                  <a:pos x="6" y="346"/>
                </a:cxn>
                <a:cxn ang="0">
                  <a:pos x="45" y="368"/>
                </a:cxn>
                <a:cxn ang="0">
                  <a:pos x="40" y="392"/>
                </a:cxn>
                <a:cxn ang="0">
                  <a:pos x="22" y="405"/>
                </a:cxn>
                <a:cxn ang="0">
                  <a:pos x="33" y="433"/>
                </a:cxn>
                <a:cxn ang="0">
                  <a:pos x="36" y="468"/>
                </a:cxn>
                <a:cxn ang="0">
                  <a:pos x="16" y="493"/>
                </a:cxn>
                <a:cxn ang="0">
                  <a:pos x="5" y="508"/>
                </a:cxn>
                <a:cxn ang="0">
                  <a:pos x="13" y="523"/>
                </a:cxn>
                <a:cxn ang="0">
                  <a:pos x="9" y="554"/>
                </a:cxn>
                <a:cxn ang="0">
                  <a:pos x="8" y="572"/>
                </a:cxn>
              </a:cxnLst>
              <a:rect l="0" t="0" r="r" b="b"/>
              <a:pathLst>
                <a:path w="262" h="595">
                  <a:moveTo>
                    <a:pt x="16" y="574"/>
                  </a:moveTo>
                  <a:cubicBezTo>
                    <a:pt x="17" y="576"/>
                    <a:pt x="12" y="580"/>
                    <a:pt x="15" y="582"/>
                  </a:cubicBezTo>
                  <a:cubicBezTo>
                    <a:pt x="18" y="583"/>
                    <a:pt x="25" y="578"/>
                    <a:pt x="29" y="581"/>
                  </a:cubicBezTo>
                  <a:cubicBezTo>
                    <a:pt x="32" y="583"/>
                    <a:pt x="29" y="589"/>
                    <a:pt x="30" y="592"/>
                  </a:cubicBezTo>
                  <a:cubicBezTo>
                    <a:pt x="32" y="595"/>
                    <a:pt x="35" y="594"/>
                    <a:pt x="38" y="594"/>
                  </a:cubicBezTo>
                  <a:cubicBezTo>
                    <a:pt x="40" y="594"/>
                    <a:pt x="42" y="594"/>
                    <a:pt x="45" y="592"/>
                  </a:cubicBezTo>
                  <a:cubicBezTo>
                    <a:pt x="47" y="591"/>
                    <a:pt x="51" y="591"/>
                    <a:pt x="53" y="585"/>
                  </a:cubicBezTo>
                  <a:cubicBezTo>
                    <a:pt x="55" y="579"/>
                    <a:pt x="52" y="564"/>
                    <a:pt x="54" y="559"/>
                  </a:cubicBezTo>
                  <a:cubicBezTo>
                    <a:pt x="56" y="553"/>
                    <a:pt x="60" y="558"/>
                    <a:pt x="64" y="557"/>
                  </a:cubicBezTo>
                  <a:cubicBezTo>
                    <a:pt x="68" y="556"/>
                    <a:pt x="70" y="553"/>
                    <a:pt x="76" y="552"/>
                  </a:cubicBezTo>
                  <a:cubicBezTo>
                    <a:pt x="81" y="551"/>
                    <a:pt x="89" y="552"/>
                    <a:pt x="94" y="551"/>
                  </a:cubicBezTo>
                  <a:cubicBezTo>
                    <a:pt x="100" y="549"/>
                    <a:pt x="102" y="544"/>
                    <a:pt x="106" y="544"/>
                  </a:cubicBezTo>
                  <a:cubicBezTo>
                    <a:pt x="109" y="543"/>
                    <a:pt x="110" y="543"/>
                    <a:pt x="112" y="544"/>
                  </a:cubicBezTo>
                  <a:cubicBezTo>
                    <a:pt x="112" y="539"/>
                    <a:pt x="113" y="536"/>
                    <a:pt x="117" y="534"/>
                  </a:cubicBezTo>
                  <a:cubicBezTo>
                    <a:pt x="121" y="533"/>
                    <a:pt x="125" y="539"/>
                    <a:pt x="128" y="538"/>
                  </a:cubicBezTo>
                  <a:cubicBezTo>
                    <a:pt x="132" y="536"/>
                    <a:pt x="128" y="531"/>
                    <a:pt x="128" y="528"/>
                  </a:cubicBezTo>
                  <a:cubicBezTo>
                    <a:pt x="127" y="524"/>
                    <a:pt x="126" y="518"/>
                    <a:pt x="127" y="514"/>
                  </a:cubicBezTo>
                  <a:cubicBezTo>
                    <a:pt x="128" y="511"/>
                    <a:pt x="133" y="513"/>
                    <a:pt x="134" y="509"/>
                  </a:cubicBezTo>
                  <a:cubicBezTo>
                    <a:pt x="135" y="505"/>
                    <a:pt x="128" y="497"/>
                    <a:pt x="132" y="494"/>
                  </a:cubicBezTo>
                  <a:cubicBezTo>
                    <a:pt x="136" y="491"/>
                    <a:pt x="143" y="499"/>
                    <a:pt x="147" y="499"/>
                  </a:cubicBezTo>
                  <a:cubicBezTo>
                    <a:pt x="152" y="499"/>
                    <a:pt x="154" y="491"/>
                    <a:pt x="157" y="494"/>
                  </a:cubicBezTo>
                  <a:cubicBezTo>
                    <a:pt x="160" y="496"/>
                    <a:pt x="155" y="504"/>
                    <a:pt x="157" y="507"/>
                  </a:cubicBezTo>
                  <a:cubicBezTo>
                    <a:pt x="160" y="510"/>
                    <a:pt x="166" y="508"/>
                    <a:pt x="168" y="511"/>
                  </a:cubicBezTo>
                  <a:cubicBezTo>
                    <a:pt x="170" y="514"/>
                    <a:pt x="168" y="518"/>
                    <a:pt x="169" y="522"/>
                  </a:cubicBezTo>
                  <a:cubicBezTo>
                    <a:pt x="170" y="526"/>
                    <a:pt x="171" y="531"/>
                    <a:pt x="173" y="533"/>
                  </a:cubicBezTo>
                  <a:cubicBezTo>
                    <a:pt x="176" y="536"/>
                    <a:pt x="180" y="540"/>
                    <a:pt x="182" y="536"/>
                  </a:cubicBezTo>
                  <a:cubicBezTo>
                    <a:pt x="185" y="532"/>
                    <a:pt x="182" y="522"/>
                    <a:pt x="184" y="518"/>
                  </a:cubicBezTo>
                  <a:cubicBezTo>
                    <a:pt x="185" y="513"/>
                    <a:pt x="190" y="515"/>
                    <a:pt x="190" y="512"/>
                  </a:cubicBezTo>
                  <a:cubicBezTo>
                    <a:pt x="191" y="509"/>
                    <a:pt x="186" y="506"/>
                    <a:pt x="186" y="502"/>
                  </a:cubicBezTo>
                  <a:cubicBezTo>
                    <a:pt x="187" y="498"/>
                    <a:pt x="192" y="496"/>
                    <a:pt x="194" y="491"/>
                  </a:cubicBezTo>
                  <a:cubicBezTo>
                    <a:pt x="195" y="487"/>
                    <a:pt x="191" y="481"/>
                    <a:pt x="194" y="477"/>
                  </a:cubicBezTo>
                  <a:cubicBezTo>
                    <a:pt x="198" y="473"/>
                    <a:pt x="207" y="472"/>
                    <a:pt x="212" y="471"/>
                  </a:cubicBezTo>
                  <a:cubicBezTo>
                    <a:pt x="216" y="470"/>
                    <a:pt x="217" y="474"/>
                    <a:pt x="221" y="472"/>
                  </a:cubicBezTo>
                  <a:cubicBezTo>
                    <a:pt x="225" y="469"/>
                    <a:pt x="229" y="465"/>
                    <a:pt x="233" y="455"/>
                  </a:cubicBezTo>
                  <a:cubicBezTo>
                    <a:pt x="231" y="452"/>
                    <a:pt x="233" y="451"/>
                    <a:pt x="232" y="449"/>
                  </a:cubicBezTo>
                  <a:cubicBezTo>
                    <a:pt x="230" y="446"/>
                    <a:pt x="227" y="446"/>
                    <a:pt x="224" y="444"/>
                  </a:cubicBezTo>
                  <a:cubicBezTo>
                    <a:pt x="222" y="442"/>
                    <a:pt x="217" y="439"/>
                    <a:pt x="216" y="435"/>
                  </a:cubicBezTo>
                  <a:cubicBezTo>
                    <a:pt x="215" y="430"/>
                    <a:pt x="217" y="423"/>
                    <a:pt x="218" y="419"/>
                  </a:cubicBezTo>
                  <a:cubicBezTo>
                    <a:pt x="219" y="415"/>
                    <a:pt x="221" y="415"/>
                    <a:pt x="222" y="413"/>
                  </a:cubicBezTo>
                  <a:cubicBezTo>
                    <a:pt x="224" y="411"/>
                    <a:pt x="224" y="409"/>
                    <a:pt x="225" y="405"/>
                  </a:cubicBezTo>
                  <a:cubicBezTo>
                    <a:pt x="225" y="402"/>
                    <a:pt x="225" y="396"/>
                    <a:pt x="226" y="393"/>
                  </a:cubicBezTo>
                  <a:cubicBezTo>
                    <a:pt x="227" y="390"/>
                    <a:pt x="230" y="393"/>
                    <a:pt x="231" y="389"/>
                  </a:cubicBezTo>
                  <a:cubicBezTo>
                    <a:pt x="232" y="384"/>
                    <a:pt x="231" y="374"/>
                    <a:pt x="231" y="369"/>
                  </a:cubicBezTo>
                  <a:cubicBezTo>
                    <a:pt x="231" y="364"/>
                    <a:pt x="230" y="362"/>
                    <a:pt x="231" y="359"/>
                  </a:cubicBezTo>
                  <a:cubicBezTo>
                    <a:pt x="233" y="356"/>
                    <a:pt x="236" y="355"/>
                    <a:pt x="237" y="352"/>
                  </a:cubicBezTo>
                  <a:cubicBezTo>
                    <a:pt x="239" y="349"/>
                    <a:pt x="237" y="344"/>
                    <a:pt x="238" y="341"/>
                  </a:cubicBezTo>
                  <a:cubicBezTo>
                    <a:pt x="239" y="338"/>
                    <a:pt x="243" y="340"/>
                    <a:pt x="245" y="336"/>
                  </a:cubicBezTo>
                  <a:cubicBezTo>
                    <a:pt x="246" y="332"/>
                    <a:pt x="245" y="322"/>
                    <a:pt x="246" y="319"/>
                  </a:cubicBezTo>
                  <a:cubicBezTo>
                    <a:pt x="247" y="315"/>
                    <a:pt x="250" y="321"/>
                    <a:pt x="251" y="316"/>
                  </a:cubicBezTo>
                  <a:cubicBezTo>
                    <a:pt x="252" y="312"/>
                    <a:pt x="250" y="300"/>
                    <a:pt x="252" y="295"/>
                  </a:cubicBezTo>
                  <a:cubicBezTo>
                    <a:pt x="253" y="290"/>
                    <a:pt x="255" y="291"/>
                    <a:pt x="257" y="289"/>
                  </a:cubicBezTo>
                  <a:cubicBezTo>
                    <a:pt x="259" y="286"/>
                    <a:pt x="261" y="282"/>
                    <a:pt x="261" y="279"/>
                  </a:cubicBezTo>
                  <a:cubicBezTo>
                    <a:pt x="262" y="276"/>
                    <a:pt x="262" y="273"/>
                    <a:pt x="261" y="271"/>
                  </a:cubicBezTo>
                  <a:cubicBezTo>
                    <a:pt x="259" y="269"/>
                    <a:pt x="257" y="267"/>
                    <a:pt x="255" y="268"/>
                  </a:cubicBezTo>
                  <a:cubicBezTo>
                    <a:pt x="253" y="268"/>
                    <a:pt x="253" y="274"/>
                    <a:pt x="250" y="274"/>
                  </a:cubicBezTo>
                  <a:cubicBezTo>
                    <a:pt x="248" y="275"/>
                    <a:pt x="246" y="271"/>
                    <a:pt x="245" y="270"/>
                  </a:cubicBezTo>
                  <a:cubicBezTo>
                    <a:pt x="243" y="268"/>
                    <a:pt x="243" y="267"/>
                    <a:pt x="242" y="265"/>
                  </a:cubicBezTo>
                  <a:cubicBezTo>
                    <a:pt x="241" y="264"/>
                    <a:pt x="241" y="263"/>
                    <a:pt x="238" y="262"/>
                  </a:cubicBezTo>
                  <a:cubicBezTo>
                    <a:pt x="236" y="261"/>
                    <a:pt x="229" y="264"/>
                    <a:pt x="227" y="260"/>
                  </a:cubicBezTo>
                  <a:cubicBezTo>
                    <a:pt x="225" y="255"/>
                    <a:pt x="229" y="247"/>
                    <a:pt x="228" y="243"/>
                  </a:cubicBezTo>
                  <a:cubicBezTo>
                    <a:pt x="227" y="239"/>
                    <a:pt x="224" y="240"/>
                    <a:pt x="222" y="237"/>
                  </a:cubicBezTo>
                  <a:cubicBezTo>
                    <a:pt x="220" y="235"/>
                    <a:pt x="218" y="232"/>
                    <a:pt x="217" y="229"/>
                  </a:cubicBezTo>
                  <a:cubicBezTo>
                    <a:pt x="216" y="226"/>
                    <a:pt x="215" y="221"/>
                    <a:pt x="215" y="218"/>
                  </a:cubicBezTo>
                  <a:cubicBezTo>
                    <a:pt x="215" y="215"/>
                    <a:pt x="214" y="213"/>
                    <a:pt x="216" y="211"/>
                  </a:cubicBezTo>
                  <a:cubicBezTo>
                    <a:pt x="217" y="209"/>
                    <a:pt x="220" y="209"/>
                    <a:pt x="222" y="207"/>
                  </a:cubicBezTo>
                  <a:cubicBezTo>
                    <a:pt x="223" y="205"/>
                    <a:pt x="221" y="201"/>
                    <a:pt x="222" y="199"/>
                  </a:cubicBezTo>
                  <a:cubicBezTo>
                    <a:pt x="223" y="197"/>
                    <a:pt x="226" y="200"/>
                    <a:pt x="227" y="197"/>
                  </a:cubicBezTo>
                  <a:cubicBezTo>
                    <a:pt x="228" y="194"/>
                    <a:pt x="229" y="189"/>
                    <a:pt x="229" y="184"/>
                  </a:cubicBezTo>
                  <a:cubicBezTo>
                    <a:pt x="229" y="180"/>
                    <a:pt x="230" y="174"/>
                    <a:pt x="229" y="170"/>
                  </a:cubicBezTo>
                  <a:cubicBezTo>
                    <a:pt x="229" y="167"/>
                    <a:pt x="227" y="166"/>
                    <a:pt x="225" y="166"/>
                  </a:cubicBezTo>
                  <a:cubicBezTo>
                    <a:pt x="224" y="165"/>
                    <a:pt x="223" y="167"/>
                    <a:pt x="220" y="167"/>
                  </a:cubicBezTo>
                  <a:cubicBezTo>
                    <a:pt x="218" y="168"/>
                    <a:pt x="215" y="168"/>
                    <a:pt x="213" y="167"/>
                  </a:cubicBezTo>
                  <a:cubicBezTo>
                    <a:pt x="210" y="167"/>
                    <a:pt x="208" y="164"/>
                    <a:pt x="206" y="163"/>
                  </a:cubicBezTo>
                  <a:cubicBezTo>
                    <a:pt x="204" y="162"/>
                    <a:pt x="202" y="162"/>
                    <a:pt x="201" y="159"/>
                  </a:cubicBezTo>
                  <a:cubicBezTo>
                    <a:pt x="200" y="156"/>
                    <a:pt x="200" y="149"/>
                    <a:pt x="201" y="146"/>
                  </a:cubicBezTo>
                  <a:cubicBezTo>
                    <a:pt x="202" y="143"/>
                    <a:pt x="204" y="143"/>
                    <a:pt x="206" y="142"/>
                  </a:cubicBezTo>
                  <a:cubicBezTo>
                    <a:pt x="207" y="140"/>
                    <a:pt x="209" y="140"/>
                    <a:pt x="210" y="138"/>
                  </a:cubicBezTo>
                  <a:cubicBezTo>
                    <a:pt x="211" y="136"/>
                    <a:pt x="211" y="134"/>
                    <a:pt x="211" y="131"/>
                  </a:cubicBezTo>
                  <a:cubicBezTo>
                    <a:pt x="210" y="129"/>
                    <a:pt x="208" y="126"/>
                    <a:pt x="207" y="125"/>
                  </a:cubicBezTo>
                  <a:cubicBezTo>
                    <a:pt x="206" y="123"/>
                    <a:pt x="204" y="125"/>
                    <a:pt x="203" y="121"/>
                  </a:cubicBezTo>
                  <a:cubicBezTo>
                    <a:pt x="203" y="117"/>
                    <a:pt x="204" y="108"/>
                    <a:pt x="203" y="103"/>
                  </a:cubicBezTo>
                  <a:cubicBezTo>
                    <a:pt x="203" y="98"/>
                    <a:pt x="201" y="96"/>
                    <a:pt x="200" y="92"/>
                  </a:cubicBezTo>
                  <a:cubicBezTo>
                    <a:pt x="199" y="89"/>
                    <a:pt x="197" y="85"/>
                    <a:pt x="196" y="82"/>
                  </a:cubicBezTo>
                  <a:cubicBezTo>
                    <a:pt x="195" y="79"/>
                    <a:pt x="195" y="77"/>
                    <a:pt x="192" y="74"/>
                  </a:cubicBezTo>
                  <a:cubicBezTo>
                    <a:pt x="189" y="71"/>
                    <a:pt x="184" y="67"/>
                    <a:pt x="178" y="65"/>
                  </a:cubicBezTo>
                  <a:cubicBezTo>
                    <a:pt x="173" y="63"/>
                    <a:pt x="162" y="64"/>
                    <a:pt x="158" y="64"/>
                  </a:cubicBezTo>
                  <a:cubicBezTo>
                    <a:pt x="153" y="64"/>
                    <a:pt x="151" y="64"/>
                    <a:pt x="149" y="62"/>
                  </a:cubicBezTo>
                  <a:cubicBezTo>
                    <a:pt x="147" y="61"/>
                    <a:pt x="147" y="58"/>
                    <a:pt x="149" y="57"/>
                  </a:cubicBezTo>
                  <a:cubicBezTo>
                    <a:pt x="150" y="55"/>
                    <a:pt x="154" y="57"/>
                    <a:pt x="155" y="55"/>
                  </a:cubicBezTo>
                  <a:cubicBezTo>
                    <a:pt x="157" y="52"/>
                    <a:pt x="154" y="45"/>
                    <a:pt x="157" y="42"/>
                  </a:cubicBezTo>
                  <a:cubicBezTo>
                    <a:pt x="160" y="40"/>
                    <a:pt x="164" y="45"/>
                    <a:pt x="167" y="43"/>
                  </a:cubicBezTo>
                  <a:cubicBezTo>
                    <a:pt x="170" y="42"/>
                    <a:pt x="171" y="37"/>
                    <a:pt x="171" y="35"/>
                  </a:cubicBezTo>
                  <a:cubicBezTo>
                    <a:pt x="171" y="32"/>
                    <a:pt x="167" y="33"/>
                    <a:pt x="166" y="31"/>
                  </a:cubicBezTo>
                  <a:cubicBezTo>
                    <a:pt x="165" y="29"/>
                    <a:pt x="167" y="25"/>
                    <a:pt x="166" y="22"/>
                  </a:cubicBezTo>
                  <a:cubicBezTo>
                    <a:pt x="166" y="19"/>
                    <a:pt x="163" y="18"/>
                    <a:pt x="161" y="15"/>
                  </a:cubicBezTo>
                  <a:cubicBezTo>
                    <a:pt x="160" y="13"/>
                    <a:pt x="161" y="9"/>
                    <a:pt x="159" y="7"/>
                  </a:cubicBezTo>
                  <a:cubicBezTo>
                    <a:pt x="158" y="5"/>
                    <a:pt x="155" y="4"/>
                    <a:pt x="153" y="3"/>
                  </a:cubicBezTo>
                  <a:cubicBezTo>
                    <a:pt x="151" y="2"/>
                    <a:pt x="149" y="0"/>
                    <a:pt x="147" y="3"/>
                  </a:cubicBezTo>
                  <a:cubicBezTo>
                    <a:pt x="146" y="5"/>
                    <a:pt x="146" y="11"/>
                    <a:pt x="147" y="14"/>
                  </a:cubicBezTo>
                  <a:cubicBezTo>
                    <a:pt x="148" y="17"/>
                    <a:pt x="152" y="17"/>
                    <a:pt x="153" y="20"/>
                  </a:cubicBezTo>
                  <a:cubicBezTo>
                    <a:pt x="153" y="23"/>
                    <a:pt x="156" y="29"/>
                    <a:pt x="150" y="31"/>
                  </a:cubicBezTo>
                  <a:cubicBezTo>
                    <a:pt x="145" y="33"/>
                    <a:pt x="132" y="28"/>
                    <a:pt x="126" y="30"/>
                  </a:cubicBezTo>
                  <a:cubicBezTo>
                    <a:pt x="121" y="32"/>
                    <a:pt x="127" y="39"/>
                    <a:pt x="124" y="40"/>
                  </a:cubicBezTo>
                  <a:cubicBezTo>
                    <a:pt x="120" y="41"/>
                    <a:pt x="115" y="35"/>
                    <a:pt x="112" y="34"/>
                  </a:cubicBezTo>
                  <a:cubicBezTo>
                    <a:pt x="108" y="34"/>
                    <a:pt x="110" y="39"/>
                    <a:pt x="107" y="40"/>
                  </a:cubicBezTo>
                  <a:cubicBezTo>
                    <a:pt x="105" y="40"/>
                    <a:pt x="102" y="39"/>
                    <a:pt x="99" y="37"/>
                  </a:cubicBezTo>
                  <a:cubicBezTo>
                    <a:pt x="96" y="35"/>
                    <a:pt x="95" y="26"/>
                    <a:pt x="92" y="29"/>
                  </a:cubicBezTo>
                  <a:cubicBezTo>
                    <a:pt x="88" y="32"/>
                    <a:pt x="89" y="39"/>
                    <a:pt x="89" y="45"/>
                  </a:cubicBezTo>
                  <a:cubicBezTo>
                    <a:pt x="89" y="50"/>
                    <a:pt x="91" y="58"/>
                    <a:pt x="91" y="61"/>
                  </a:cubicBezTo>
                  <a:cubicBezTo>
                    <a:pt x="90" y="65"/>
                    <a:pt x="87" y="64"/>
                    <a:pt x="87" y="67"/>
                  </a:cubicBezTo>
                  <a:cubicBezTo>
                    <a:pt x="86" y="69"/>
                    <a:pt x="85" y="73"/>
                    <a:pt x="86" y="76"/>
                  </a:cubicBezTo>
                  <a:cubicBezTo>
                    <a:pt x="87" y="80"/>
                    <a:pt x="92" y="82"/>
                    <a:pt x="93" y="85"/>
                  </a:cubicBezTo>
                  <a:cubicBezTo>
                    <a:pt x="94" y="88"/>
                    <a:pt x="95" y="90"/>
                    <a:pt x="92" y="91"/>
                  </a:cubicBezTo>
                  <a:cubicBezTo>
                    <a:pt x="90" y="92"/>
                    <a:pt x="84" y="85"/>
                    <a:pt x="82" y="90"/>
                  </a:cubicBezTo>
                  <a:cubicBezTo>
                    <a:pt x="79" y="94"/>
                    <a:pt x="83" y="107"/>
                    <a:pt x="81" y="112"/>
                  </a:cubicBezTo>
                  <a:cubicBezTo>
                    <a:pt x="78" y="117"/>
                    <a:pt x="72" y="109"/>
                    <a:pt x="69" y="112"/>
                  </a:cubicBezTo>
                  <a:cubicBezTo>
                    <a:pt x="67" y="115"/>
                    <a:pt x="69" y="120"/>
                    <a:pt x="70" y="123"/>
                  </a:cubicBezTo>
                  <a:cubicBezTo>
                    <a:pt x="71" y="126"/>
                    <a:pt x="72" y="128"/>
                    <a:pt x="75" y="129"/>
                  </a:cubicBezTo>
                  <a:cubicBezTo>
                    <a:pt x="77" y="131"/>
                    <a:pt x="80" y="126"/>
                    <a:pt x="82" y="129"/>
                  </a:cubicBezTo>
                  <a:cubicBezTo>
                    <a:pt x="84" y="132"/>
                    <a:pt x="81" y="140"/>
                    <a:pt x="83" y="144"/>
                  </a:cubicBezTo>
                  <a:cubicBezTo>
                    <a:pt x="85" y="148"/>
                    <a:pt x="91" y="147"/>
                    <a:pt x="93" y="149"/>
                  </a:cubicBezTo>
                  <a:cubicBezTo>
                    <a:pt x="96" y="151"/>
                    <a:pt x="98" y="153"/>
                    <a:pt x="99" y="155"/>
                  </a:cubicBezTo>
                  <a:cubicBezTo>
                    <a:pt x="99" y="158"/>
                    <a:pt x="99" y="160"/>
                    <a:pt x="98" y="163"/>
                  </a:cubicBezTo>
                  <a:cubicBezTo>
                    <a:pt x="97" y="166"/>
                    <a:pt x="93" y="169"/>
                    <a:pt x="91" y="171"/>
                  </a:cubicBezTo>
                  <a:cubicBezTo>
                    <a:pt x="88" y="174"/>
                    <a:pt x="85" y="171"/>
                    <a:pt x="83" y="177"/>
                  </a:cubicBezTo>
                  <a:cubicBezTo>
                    <a:pt x="81" y="183"/>
                    <a:pt x="81" y="198"/>
                    <a:pt x="79" y="204"/>
                  </a:cubicBezTo>
                  <a:cubicBezTo>
                    <a:pt x="77" y="209"/>
                    <a:pt x="75" y="205"/>
                    <a:pt x="73" y="207"/>
                  </a:cubicBezTo>
                  <a:cubicBezTo>
                    <a:pt x="72" y="209"/>
                    <a:pt x="74" y="212"/>
                    <a:pt x="72" y="214"/>
                  </a:cubicBezTo>
                  <a:cubicBezTo>
                    <a:pt x="71" y="217"/>
                    <a:pt x="67" y="218"/>
                    <a:pt x="65" y="220"/>
                  </a:cubicBezTo>
                  <a:cubicBezTo>
                    <a:pt x="63" y="222"/>
                    <a:pt x="61" y="222"/>
                    <a:pt x="61" y="225"/>
                  </a:cubicBezTo>
                  <a:cubicBezTo>
                    <a:pt x="62" y="227"/>
                    <a:pt x="66" y="228"/>
                    <a:pt x="66" y="231"/>
                  </a:cubicBezTo>
                  <a:cubicBezTo>
                    <a:pt x="66" y="234"/>
                    <a:pt x="66" y="237"/>
                    <a:pt x="64" y="239"/>
                  </a:cubicBezTo>
                  <a:cubicBezTo>
                    <a:pt x="61" y="240"/>
                    <a:pt x="55" y="237"/>
                    <a:pt x="52" y="239"/>
                  </a:cubicBezTo>
                  <a:cubicBezTo>
                    <a:pt x="49" y="241"/>
                    <a:pt x="51" y="246"/>
                    <a:pt x="49" y="248"/>
                  </a:cubicBezTo>
                  <a:cubicBezTo>
                    <a:pt x="46" y="250"/>
                    <a:pt x="40" y="245"/>
                    <a:pt x="38" y="248"/>
                  </a:cubicBezTo>
                  <a:cubicBezTo>
                    <a:pt x="35" y="251"/>
                    <a:pt x="40" y="258"/>
                    <a:pt x="37" y="261"/>
                  </a:cubicBezTo>
                  <a:cubicBezTo>
                    <a:pt x="34" y="264"/>
                    <a:pt x="29" y="261"/>
                    <a:pt x="25" y="261"/>
                  </a:cubicBezTo>
                  <a:cubicBezTo>
                    <a:pt x="21" y="262"/>
                    <a:pt x="16" y="259"/>
                    <a:pt x="15" y="263"/>
                  </a:cubicBezTo>
                  <a:cubicBezTo>
                    <a:pt x="14" y="267"/>
                    <a:pt x="21" y="268"/>
                    <a:pt x="23" y="272"/>
                  </a:cubicBezTo>
                  <a:cubicBezTo>
                    <a:pt x="24" y="275"/>
                    <a:pt x="24" y="280"/>
                    <a:pt x="23" y="283"/>
                  </a:cubicBezTo>
                  <a:cubicBezTo>
                    <a:pt x="22" y="286"/>
                    <a:pt x="21" y="288"/>
                    <a:pt x="18" y="289"/>
                  </a:cubicBezTo>
                  <a:cubicBezTo>
                    <a:pt x="16" y="290"/>
                    <a:pt x="11" y="284"/>
                    <a:pt x="9" y="288"/>
                  </a:cubicBezTo>
                  <a:cubicBezTo>
                    <a:pt x="6" y="293"/>
                    <a:pt x="9" y="304"/>
                    <a:pt x="8" y="308"/>
                  </a:cubicBezTo>
                  <a:cubicBezTo>
                    <a:pt x="6" y="313"/>
                    <a:pt x="1" y="312"/>
                    <a:pt x="0" y="315"/>
                  </a:cubicBezTo>
                  <a:cubicBezTo>
                    <a:pt x="0" y="317"/>
                    <a:pt x="4" y="316"/>
                    <a:pt x="5" y="319"/>
                  </a:cubicBezTo>
                  <a:cubicBezTo>
                    <a:pt x="5" y="322"/>
                    <a:pt x="4" y="328"/>
                    <a:pt x="4" y="332"/>
                  </a:cubicBezTo>
                  <a:cubicBezTo>
                    <a:pt x="4" y="337"/>
                    <a:pt x="3" y="341"/>
                    <a:pt x="6" y="346"/>
                  </a:cubicBezTo>
                  <a:cubicBezTo>
                    <a:pt x="9" y="350"/>
                    <a:pt x="16" y="357"/>
                    <a:pt x="22" y="360"/>
                  </a:cubicBezTo>
                  <a:cubicBezTo>
                    <a:pt x="28" y="363"/>
                    <a:pt x="36" y="359"/>
                    <a:pt x="40" y="361"/>
                  </a:cubicBezTo>
                  <a:cubicBezTo>
                    <a:pt x="45" y="362"/>
                    <a:pt x="45" y="365"/>
                    <a:pt x="45" y="368"/>
                  </a:cubicBezTo>
                  <a:cubicBezTo>
                    <a:pt x="45" y="371"/>
                    <a:pt x="41" y="373"/>
                    <a:pt x="41" y="376"/>
                  </a:cubicBezTo>
                  <a:cubicBezTo>
                    <a:pt x="41" y="380"/>
                    <a:pt x="45" y="384"/>
                    <a:pt x="45" y="387"/>
                  </a:cubicBezTo>
                  <a:cubicBezTo>
                    <a:pt x="45" y="390"/>
                    <a:pt x="41" y="389"/>
                    <a:pt x="40" y="392"/>
                  </a:cubicBezTo>
                  <a:cubicBezTo>
                    <a:pt x="39" y="394"/>
                    <a:pt x="47" y="397"/>
                    <a:pt x="43" y="399"/>
                  </a:cubicBezTo>
                  <a:cubicBezTo>
                    <a:pt x="38" y="400"/>
                    <a:pt x="27" y="397"/>
                    <a:pt x="23" y="399"/>
                  </a:cubicBezTo>
                  <a:cubicBezTo>
                    <a:pt x="19" y="400"/>
                    <a:pt x="23" y="402"/>
                    <a:pt x="22" y="405"/>
                  </a:cubicBezTo>
                  <a:cubicBezTo>
                    <a:pt x="20" y="407"/>
                    <a:pt x="14" y="411"/>
                    <a:pt x="14" y="416"/>
                  </a:cubicBezTo>
                  <a:cubicBezTo>
                    <a:pt x="13" y="421"/>
                    <a:pt x="16" y="430"/>
                    <a:pt x="20" y="433"/>
                  </a:cubicBezTo>
                  <a:cubicBezTo>
                    <a:pt x="24" y="437"/>
                    <a:pt x="30" y="429"/>
                    <a:pt x="33" y="433"/>
                  </a:cubicBezTo>
                  <a:cubicBezTo>
                    <a:pt x="36" y="437"/>
                    <a:pt x="32" y="446"/>
                    <a:pt x="33" y="450"/>
                  </a:cubicBezTo>
                  <a:cubicBezTo>
                    <a:pt x="34" y="454"/>
                    <a:pt x="38" y="454"/>
                    <a:pt x="39" y="457"/>
                  </a:cubicBezTo>
                  <a:cubicBezTo>
                    <a:pt x="39" y="460"/>
                    <a:pt x="38" y="466"/>
                    <a:pt x="36" y="468"/>
                  </a:cubicBezTo>
                  <a:cubicBezTo>
                    <a:pt x="34" y="470"/>
                    <a:pt x="33" y="464"/>
                    <a:pt x="28" y="468"/>
                  </a:cubicBezTo>
                  <a:cubicBezTo>
                    <a:pt x="24" y="472"/>
                    <a:pt x="14" y="484"/>
                    <a:pt x="12" y="489"/>
                  </a:cubicBezTo>
                  <a:cubicBezTo>
                    <a:pt x="9" y="494"/>
                    <a:pt x="15" y="491"/>
                    <a:pt x="16" y="493"/>
                  </a:cubicBezTo>
                  <a:cubicBezTo>
                    <a:pt x="17" y="496"/>
                    <a:pt x="19" y="499"/>
                    <a:pt x="16" y="501"/>
                  </a:cubicBezTo>
                  <a:cubicBezTo>
                    <a:pt x="14" y="503"/>
                    <a:pt x="10" y="500"/>
                    <a:pt x="8" y="501"/>
                  </a:cubicBezTo>
                  <a:cubicBezTo>
                    <a:pt x="5" y="503"/>
                    <a:pt x="8" y="507"/>
                    <a:pt x="5" y="508"/>
                  </a:cubicBezTo>
                  <a:cubicBezTo>
                    <a:pt x="5" y="509"/>
                    <a:pt x="4" y="509"/>
                    <a:pt x="3" y="509"/>
                  </a:cubicBezTo>
                  <a:cubicBezTo>
                    <a:pt x="4" y="512"/>
                    <a:pt x="4" y="515"/>
                    <a:pt x="5" y="517"/>
                  </a:cubicBezTo>
                  <a:cubicBezTo>
                    <a:pt x="7" y="520"/>
                    <a:pt x="12" y="521"/>
                    <a:pt x="13" y="523"/>
                  </a:cubicBezTo>
                  <a:cubicBezTo>
                    <a:pt x="15" y="525"/>
                    <a:pt x="16" y="527"/>
                    <a:pt x="15" y="529"/>
                  </a:cubicBezTo>
                  <a:cubicBezTo>
                    <a:pt x="14" y="532"/>
                    <a:pt x="9" y="532"/>
                    <a:pt x="8" y="536"/>
                  </a:cubicBezTo>
                  <a:cubicBezTo>
                    <a:pt x="7" y="541"/>
                    <a:pt x="9" y="551"/>
                    <a:pt x="9" y="554"/>
                  </a:cubicBezTo>
                  <a:cubicBezTo>
                    <a:pt x="9" y="557"/>
                    <a:pt x="11" y="556"/>
                    <a:pt x="11" y="557"/>
                  </a:cubicBezTo>
                  <a:cubicBezTo>
                    <a:pt x="11" y="558"/>
                    <a:pt x="8" y="565"/>
                    <a:pt x="8" y="566"/>
                  </a:cubicBezTo>
                  <a:cubicBezTo>
                    <a:pt x="8" y="567"/>
                    <a:pt x="6" y="571"/>
                    <a:pt x="8" y="572"/>
                  </a:cubicBezTo>
                  <a:cubicBezTo>
                    <a:pt x="10" y="574"/>
                    <a:pt x="14" y="572"/>
                    <a:pt x="16" y="574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3" name="Freeform 31"/>
            <p:cNvSpPr>
              <a:spLocks noEditPoints="1"/>
            </p:cNvSpPr>
            <p:nvPr/>
          </p:nvSpPr>
          <p:spPr bwMode="auto">
            <a:xfrm rot="21439583">
              <a:off x="4403944" y="4657553"/>
              <a:ext cx="832093" cy="926369"/>
            </a:xfrm>
            <a:custGeom>
              <a:avLst/>
              <a:gdLst/>
              <a:ahLst/>
              <a:cxnLst>
                <a:cxn ang="0">
                  <a:pos x="69" y="21"/>
                </a:cxn>
                <a:cxn ang="0">
                  <a:pos x="79" y="17"/>
                </a:cxn>
                <a:cxn ang="0">
                  <a:pos x="92" y="22"/>
                </a:cxn>
                <a:cxn ang="0">
                  <a:pos x="109" y="13"/>
                </a:cxn>
                <a:cxn ang="0">
                  <a:pos x="137" y="12"/>
                </a:cxn>
                <a:cxn ang="0">
                  <a:pos x="144" y="26"/>
                </a:cxn>
                <a:cxn ang="0">
                  <a:pos x="148" y="33"/>
                </a:cxn>
                <a:cxn ang="0">
                  <a:pos x="144" y="39"/>
                </a:cxn>
                <a:cxn ang="0">
                  <a:pos x="140" y="56"/>
                </a:cxn>
                <a:cxn ang="0">
                  <a:pos x="142" y="65"/>
                </a:cxn>
                <a:cxn ang="0">
                  <a:pos x="143" y="79"/>
                </a:cxn>
                <a:cxn ang="0">
                  <a:pos x="138" y="91"/>
                </a:cxn>
                <a:cxn ang="0">
                  <a:pos x="131" y="94"/>
                </a:cxn>
                <a:cxn ang="0">
                  <a:pos x="116" y="99"/>
                </a:cxn>
                <a:cxn ang="0">
                  <a:pos x="107" y="114"/>
                </a:cxn>
                <a:cxn ang="0">
                  <a:pos x="105" y="124"/>
                </a:cxn>
                <a:cxn ang="0">
                  <a:pos x="99" y="132"/>
                </a:cxn>
                <a:cxn ang="0">
                  <a:pos x="89" y="126"/>
                </a:cxn>
                <a:cxn ang="0">
                  <a:pos x="80" y="133"/>
                </a:cxn>
                <a:cxn ang="0">
                  <a:pos x="70" y="149"/>
                </a:cxn>
                <a:cxn ang="0">
                  <a:pos x="56" y="155"/>
                </a:cxn>
                <a:cxn ang="0">
                  <a:pos x="51" y="170"/>
                </a:cxn>
                <a:cxn ang="0">
                  <a:pos x="58" y="187"/>
                </a:cxn>
                <a:cxn ang="0">
                  <a:pos x="40" y="188"/>
                </a:cxn>
                <a:cxn ang="0">
                  <a:pos x="26" y="195"/>
                </a:cxn>
                <a:cxn ang="0">
                  <a:pos x="19" y="171"/>
                </a:cxn>
                <a:cxn ang="0">
                  <a:pos x="11" y="151"/>
                </a:cxn>
                <a:cxn ang="0">
                  <a:pos x="1" y="126"/>
                </a:cxn>
                <a:cxn ang="0">
                  <a:pos x="6" y="106"/>
                </a:cxn>
                <a:cxn ang="0">
                  <a:pos x="13" y="90"/>
                </a:cxn>
                <a:cxn ang="0">
                  <a:pos x="24" y="74"/>
                </a:cxn>
                <a:cxn ang="0">
                  <a:pos x="30" y="61"/>
                </a:cxn>
                <a:cxn ang="0">
                  <a:pos x="49" y="58"/>
                </a:cxn>
                <a:cxn ang="0">
                  <a:pos x="56" y="33"/>
                </a:cxn>
                <a:cxn ang="0">
                  <a:pos x="56" y="18"/>
                </a:cxn>
                <a:cxn ang="0">
                  <a:pos x="18" y="170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1" y="11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2" y="2"/>
                </a:cxn>
                <a:cxn ang="0">
                  <a:pos x="143" y="0"/>
                </a:cxn>
                <a:cxn ang="0">
                  <a:pos x="143" y="0"/>
                </a:cxn>
                <a:cxn ang="0">
                  <a:pos x="143" y="0"/>
                </a:cxn>
              </a:cxnLst>
              <a:rect l="0" t="0" r="r" b="b"/>
              <a:pathLst>
                <a:path w="149" h="195">
                  <a:moveTo>
                    <a:pt x="56" y="18"/>
                  </a:moveTo>
                  <a:cubicBezTo>
                    <a:pt x="59" y="20"/>
                    <a:pt x="65" y="20"/>
                    <a:pt x="69" y="21"/>
                  </a:cubicBezTo>
                  <a:cubicBezTo>
                    <a:pt x="72" y="22"/>
                    <a:pt x="73" y="26"/>
                    <a:pt x="76" y="25"/>
                  </a:cubicBezTo>
                  <a:cubicBezTo>
                    <a:pt x="78" y="24"/>
                    <a:pt x="77" y="19"/>
                    <a:pt x="79" y="17"/>
                  </a:cubicBezTo>
                  <a:cubicBezTo>
                    <a:pt x="81" y="16"/>
                    <a:pt x="83" y="16"/>
                    <a:pt x="85" y="17"/>
                  </a:cubicBezTo>
                  <a:cubicBezTo>
                    <a:pt x="88" y="18"/>
                    <a:pt x="88" y="21"/>
                    <a:pt x="92" y="22"/>
                  </a:cubicBezTo>
                  <a:cubicBezTo>
                    <a:pt x="96" y="23"/>
                    <a:pt x="102" y="24"/>
                    <a:pt x="106" y="22"/>
                  </a:cubicBezTo>
                  <a:cubicBezTo>
                    <a:pt x="109" y="20"/>
                    <a:pt x="106" y="15"/>
                    <a:pt x="109" y="13"/>
                  </a:cubicBezTo>
                  <a:cubicBezTo>
                    <a:pt x="111" y="11"/>
                    <a:pt x="114" y="12"/>
                    <a:pt x="119" y="12"/>
                  </a:cubicBezTo>
                  <a:cubicBezTo>
                    <a:pt x="123" y="11"/>
                    <a:pt x="131" y="12"/>
                    <a:pt x="137" y="12"/>
                  </a:cubicBezTo>
                  <a:cubicBezTo>
                    <a:pt x="139" y="14"/>
                    <a:pt x="141" y="16"/>
                    <a:pt x="142" y="18"/>
                  </a:cubicBezTo>
                  <a:cubicBezTo>
                    <a:pt x="145" y="23"/>
                    <a:pt x="144" y="24"/>
                    <a:pt x="144" y="26"/>
                  </a:cubicBezTo>
                  <a:cubicBezTo>
                    <a:pt x="144" y="29"/>
                    <a:pt x="143" y="30"/>
                    <a:pt x="144" y="31"/>
                  </a:cubicBezTo>
                  <a:cubicBezTo>
                    <a:pt x="144" y="33"/>
                    <a:pt x="147" y="32"/>
                    <a:pt x="148" y="33"/>
                  </a:cubicBezTo>
                  <a:cubicBezTo>
                    <a:pt x="149" y="34"/>
                    <a:pt x="149" y="36"/>
                    <a:pt x="148" y="37"/>
                  </a:cubicBezTo>
                  <a:cubicBezTo>
                    <a:pt x="147" y="38"/>
                    <a:pt x="145" y="36"/>
                    <a:pt x="144" y="39"/>
                  </a:cubicBezTo>
                  <a:cubicBezTo>
                    <a:pt x="143" y="42"/>
                    <a:pt x="144" y="48"/>
                    <a:pt x="144" y="51"/>
                  </a:cubicBezTo>
                  <a:cubicBezTo>
                    <a:pt x="143" y="54"/>
                    <a:pt x="141" y="54"/>
                    <a:pt x="140" y="56"/>
                  </a:cubicBezTo>
                  <a:cubicBezTo>
                    <a:pt x="139" y="58"/>
                    <a:pt x="137" y="59"/>
                    <a:pt x="138" y="61"/>
                  </a:cubicBezTo>
                  <a:cubicBezTo>
                    <a:pt x="138" y="63"/>
                    <a:pt x="141" y="63"/>
                    <a:pt x="142" y="65"/>
                  </a:cubicBezTo>
                  <a:cubicBezTo>
                    <a:pt x="143" y="67"/>
                    <a:pt x="145" y="69"/>
                    <a:pt x="145" y="72"/>
                  </a:cubicBezTo>
                  <a:cubicBezTo>
                    <a:pt x="145" y="74"/>
                    <a:pt x="144" y="77"/>
                    <a:pt x="143" y="79"/>
                  </a:cubicBezTo>
                  <a:cubicBezTo>
                    <a:pt x="142" y="81"/>
                    <a:pt x="139" y="79"/>
                    <a:pt x="138" y="81"/>
                  </a:cubicBezTo>
                  <a:cubicBezTo>
                    <a:pt x="137" y="83"/>
                    <a:pt x="137" y="88"/>
                    <a:pt x="138" y="91"/>
                  </a:cubicBezTo>
                  <a:cubicBezTo>
                    <a:pt x="138" y="91"/>
                    <a:pt x="138" y="92"/>
                    <a:pt x="138" y="92"/>
                  </a:cubicBezTo>
                  <a:cubicBezTo>
                    <a:pt x="135" y="93"/>
                    <a:pt x="133" y="93"/>
                    <a:pt x="131" y="94"/>
                  </a:cubicBezTo>
                  <a:cubicBezTo>
                    <a:pt x="127" y="96"/>
                    <a:pt x="130" y="100"/>
                    <a:pt x="127" y="101"/>
                  </a:cubicBezTo>
                  <a:cubicBezTo>
                    <a:pt x="124" y="102"/>
                    <a:pt x="120" y="99"/>
                    <a:pt x="116" y="99"/>
                  </a:cubicBezTo>
                  <a:cubicBezTo>
                    <a:pt x="113" y="100"/>
                    <a:pt x="109" y="101"/>
                    <a:pt x="107" y="104"/>
                  </a:cubicBezTo>
                  <a:cubicBezTo>
                    <a:pt x="105" y="107"/>
                    <a:pt x="108" y="111"/>
                    <a:pt x="107" y="114"/>
                  </a:cubicBezTo>
                  <a:cubicBezTo>
                    <a:pt x="106" y="116"/>
                    <a:pt x="103" y="115"/>
                    <a:pt x="102" y="118"/>
                  </a:cubicBezTo>
                  <a:cubicBezTo>
                    <a:pt x="102" y="120"/>
                    <a:pt x="104" y="122"/>
                    <a:pt x="105" y="124"/>
                  </a:cubicBezTo>
                  <a:cubicBezTo>
                    <a:pt x="106" y="127"/>
                    <a:pt x="109" y="130"/>
                    <a:pt x="107" y="132"/>
                  </a:cubicBezTo>
                  <a:cubicBezTo>
                    <a:pt x="105" y="134"/>
                    <a:pt x="102" y="133"/>
                    <a:pt x="99" y="132"/>
                  </a:cubicBezTo>
                  <a:cubicBezTo>
                    <a:pt x="97" y="130"/>
                    <a:pt x="96" y="124"/>
                    <a:pt x="94" y="123"/>
                  </a:cubicBezTo>
                  <a:cubicBezTo>
                    <a:pt x="91" y="122"/>
                    <a:pt x="90" y="125"/>
                    <a:pt x="89" y="126"/>
                  </a:cubicBezTo>
                  <a:cubicBezTo>
                    <a:pt x="88" y="128"/>
                    <a:pt x="90" y="130"/>
                    <a:pt x="88" y="132"/>
                  </a:cubicBezTo>
                  <a:cubicBezTo>
                    <a:pt x="86" y="133"/>
                    <a:pt x="82" y="132"/>
                    <a:pt x="80" y="133"/>
                  </a:cubicBezTo>
                  <a:cubicBezTo>
                    <a:pt x="77" y="134"/>
                    <a:pt x="75" y="134"/>
                    <a:pt x="73" y="137"/>
                  </a:cubicBezTo>
                  <a:cubicBezTo>
                    <a:pt x="71" y="140"/>
                    <a:pt x="72" y="146"/>
                    <a:pt x="70" y="149"/>
                  </a:cubicBezTo>
                  <a:cubicBezTo>
                    <a:pt x="68" y="152"/>
                    <a:pt x="65" y="152"/>
                    <a:pt x="63" y="153"/>
                  </a:cubicBezTo>
                  <a:cubicBezTo>
                    <a:pt x="60" y="154"/>
                    <a:pt x="58" y="154"/>
                    <a:pt x="56" y="155"/>
                  </a:cubicBezTo>
                  <a:cubicBezTo>
                    <a:pt x="54" y="156"/>
                    <a:pt x="52" y="157"/>
                    <a:pt x="51" y="159"/>
                  </a:cubicBezTo>
                  <a:cubicBezTo>
                    <a:pt x="50" y="162"/>
                    <a:pt x="50" y="167"/>
                    <a:pt x="51" y="170"/>
                  </a:cubicBezTo>
                  <a:cubicBezTo>
                    <a:pt x="52" y="173"/>
                    <a:pt x="55" y="174"/>
                    <a:pt x="56" y="177"/>
                  </a:cubicBezTo>
                  <a:cubicBezTo>
                    <a:pt x="57" y="180"/>
                    <a:pt x="59" y="184"/>
                    <a:pt x="58" y="187"/>
                  </a:cubicBezTo>
                  <a:cubicBezTo>
                    <a:pt x="57" y="190"/>
                    <a:pt x="54" y="193"/>
                    <a:pt x="51" y="193"/>
                  </a:cubicBezTo>
                  <a:cubicBezTo>
                    <a:pt x="47" y="193"/>
                    <a:pt x="43" y="188"/>
                    <a:pt x="40" y="188"/>
                  </a:cubicBezTo>
                  <a:cubicBezTo>
                    <a:pt x="37" y="188"/>
                    <a:pt x="37" y="190"/>
                    <a:pt x="32" y="191"/>
                  </a:cubicBezTo>
                  <a:cubicBezTo>
                    <a:pt x="30" y="191"/>
                    <a:pt x="28" y="194"/>
                    <a:pt x="26" y="195"/>
                  </a:cubicBezTo>
                  <a:cubicBezTo>
                    <a:pt x="26" y="192"/>
                    <a:pt x="27" y="190"/>
                    <a:pt x="26" y="187"/>
                  </a:cubicBezTo>
                  <a:cubicBezTo>
                    <a:pt x="25" y="182"/>
                    <a:pt x="22" y="175"/>
                    <a:pt x="19" y="171"/>
                  </a:cubicBezTo>
                  <a:cubicBezTo>
                    <a:pt x="18" y="167"/>
                    <a:pt x="16" y="163"/>
                    <a:pt x="16" y="160"/>
                  </a:cubicBezTo>
                  <a:cubicBezTo>
                    <a:pt x="15" y="152"/>
                    <a:pt x="13" y="154"/>
                    <a:pt x="11" y="151"/>
                  </a:cubicBezTo>
                  <a:cubicBezTo>
                    <a:pt x="9" y="148"/>
                    <a:pt x="7" y="145"/>
                    <a:pt x="5" y="141"/>
                  </a:cubicBezTo>
                  <a:cubicBezTo>
                    <a:pt x="4" y="137"/>
                    <a:pt x="0" y="130"/>
                    <a:pt x="1" y="126"/>
                  </a:cubicBezTo>
                  <a:cubicBezTo>
                    <a:pt x="2" y="122"/>
                    <a:pt x="7" y="121"/>
                    <a:pt x="8" y="118"/>
                  </a:cubicBezTo>
                  <a:cubicBezTo>
                    <a:pt x="9" y="114"/>
                    <a:pt x="6" y="111"/>
                    <a:pt x="6" y="106"/>
                  </a:cubicBezTo>
                  <a:cubicBezTo>
                    <a:pt x="5" y="102"/>
                    <a:pt x="4" y="95"/>
                    <a:pt x="6" y="92"/>
                  </a:cubicBezTo>
                  <a:cubicBezTo>
                    <a:pt x="7" y="88"/>
                    <a:pt x="10" y="92"/>
                    <a:pt x="13" y="90"/>
                  </a:cubicBezTo>
                  <a:cubicBezTo>
                    <a:pt x="17" y="88"/>
                    <a:pt x="22" y="84"/>
                    <a:pt x="24" y="81"/>
                  </a:cubicBezTo>
                  <a:cubicBezTo>
                    <a:pt x="26" y="78"/>
                    <a:pt x="24" y="77"/>
                    <a:pt x="24" y="74"/>
                  </a:cubicBezTo>
                  <a:cubicBezTo>
                    <a:pt x="24" y="71"/>
                    <a:pt x="23" y="67"/>
                    <a:pt x="24" y="65"/>
                  </a:cubicBezTo>
                  <a:cubicBezTo>
                    <a:pt x="25" y="63"/>
                    <a:pt x="27" y="62"/>
                    <a:pt x="30" y="61"/>
                  </a:cubicBezTo>
                  <a:cubicBezTo>
                    <a:pt x="33" y="61"/>
                    <a:pt x="39" y="62"/>
                    <a:pt x="43" y="61"/>
                  </a:cubicBezTo>
                  <a:cubicBezTo>
                    <a:pt x="46" y="61"/>
                    <a:pt x="47" y="60"/>
                    <a:pt x="49" y="58"/>
                  </a:cubicBezTo>
                  <a:cubicBezTo>
                    <a:pt x="52" y="56"/>
                    <a:pt x="55" y="54"/>
                    <a:pt x="57" y="50"/>
                  </a:cubicBezTo>
                  <a:cubicBezTo>
                    <a:pt x="58" y="45"/>
                    <a:pt x="56" y="38"/>
                    <a:pt x="56" y="33"/>
                  </a:cubicBezTo>
                  <a:cubicBezTo>
                    <a:pt x="56" y="29"/>
                    <a:pt x="59" y="31"/>
                    <a:pt x="57" y="23"/>
                  </a:cubicBezTo>
                  <a:cubicBezTo>
                    <a:pt x="57" y="22"/>
                    <a:pt x="57" y="20"/>
                    <a:pt x="56" y="18"/>
                  </a:cubicBezTo>
                  <a:close/>
                  <a:moveTo>
                    <a:pt x="17" y="169"/>
                  </a:moveTo>
                  <a:cubicBezTo>
                    <a:pt x="17" y="169"/>
                    <a:pt x="18" y="170"/>
                    <a:pt x="18" y="170"/>
                  </a:cubicBezTo>
                  <a:cubicBezTo>
                    <a:pt x="18" y="170"/>
                    <a:pt x="17" y="169"/>
                    <a:pt x="17" y="169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1" y="11"/>
                    <a:pt x="141" y="11"/>
                    <a:pt x="141" y="11"/>
                  </a:cubicBezTo>
                  <a:cubicBezTo>
                    <a:pt x="141" y="11"/>
                    <a:pt x="141" y="11"/>
                    <a:pt x="141" y="11"/>
                  </a:cubicBezTo>
                  <a:close/>
                  <a:moveTo>
                    <a:pt x="141" y="11"/>
                  </a:moveTo>
                  <a:cubicBezTo>
                    <a:pt x="142" y="11"/>
                    <a:pt x="142" y="11"/>
                    <a:pt x="142" y="11"/>
                  </a:cubicBezTo>
                  <a:cubicBezTo>
                    <a:pt x="142" y="11"/>
                    <a:pt x="142" y="11"/>
                    <a:pt x="141" y="11"/>
                  </a:cubicBezTo>
                  <a:close/>
                  <a:moveTo>
                    <a:pt x="142" y="2"/>
                  </a:moveTo>
                  <a:cubicBezTo>
                    <a:pt x="142" y="2"/>
                    <a:pt x="142" y="2"/>
                    <a:pt x="142" y="2"/>
                  </a:cubicBezTo>
                  <a:cubicBezTo>
                    <a:pt x="142" y="2"/>
                    <a:pt x="142" y="2"/>
                    <a:pt x="142" y="2"/>
                  </a:cubicBezTo>
                  <a:close/>
                  <a:moveTo>
                    <a:pt x="142" y="2"/>
                  </a:moveTo>
                  <a:cubicBezTo>
                    <a:pt x="142" y="1"/>
                    <a:pt x="142" y="1"/>
                    <a:pt x="142" y="1"/>
                  </a:cubicBezTo>
                  <a:cubicBezTo>
                    <a:pt x="142" y="1"/>
                    <a:pt x="142" y="1"/>
                    <a:pt x="142" y="2"/>
                  </a:cubicBezTo>
                  <a:close/>
                  <a:moveTo>
                    <a:pt x="142" y="1"/>
                  </a:moveTo>
                  <a:cubicBezTo>
                    <a:pt x="143" y="1"/>
                    <a:pt x="143" y="0"/>
                    <a:pt x="143" y="0"/>
                  </a:cubicBezTo>
                  <a:cubicBezTo>
                    <a:pt x="143" y="0"/>
                    <a:pt x="143" y="1"/>
                    <a:pt x="142" y="1"/>
                  </a:cubicBezTo>
                  <a:close/>
                  <a:moveTo>
                    <a:pt x="143" y="0"/>
                  </a:moveTo>
                  <a:cubicBezTo>
                    <a:pt x="143" y="0"/>
                    <a:pt x="143" y="0"/>
                    <a:pt x="143" y="0"/>
                  </a:cubicBezTo>
                  <a:cubicBezTo>
                    <a:pt x="143" y="0"/>
                    <a:pt x="143" y="0"/>
                    <a:pt x="143" y="0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4" name="Freeform 30"/>
            <p:cNvSpPr>
              <a:spLocks/>
            </p:cNvSpPr>
            <p:nvPr/>
          </p:nvSpPr>
          <p:spPr bwMode="auto">
            <a:xfrm rot="21439583">
              <a:off x="5140641" y="3925140"/>
              <a:ext cx="888099" cy="1265243"/>
            </a:xfrm>
            <a:custGeom>
              <a:avLst/>
              <a:gdLst/>
              <a:ahLst/>
              <a:cxnLst>
                <a:cxn ang="0">
                  <a:pos x="151" y="77"/>
                </a:cxn>
                <a:cxn ang="0">
                  <a:pos x="130" y="81"/>
                </a:cxn>
                <a:cxn ang="0">
                  <a:pos x="115" y="86"/>
                </a:cxn>
                <a:cxn ang="0">
                  <a:pos x="99" y="93"/>
                </a:cxn>
                <a:cxn ang="0">
                  <a:pos x="94" y="107"/>
                </a:cxn>
                <a:cxn ang="0">
                  <a:pos x="101" y="125"/>
                </a:cxn>
                <a:cxn ang="0">
                  <a:pos x="114" y="135"/>
                </a:cxn>
                <a:cxn ang="0">
                  <a:pos x="110" y="154"/>
                </a:cxn>
                <a:cxn ang="0">
                  <a:pos x="103" y="175"/>
                </a:cxn>
                <a:cxn ang="0">
                  <a:pos x="102" y="206"/>
                </a:cxn>
                <a:cxn ang="0">
                  <a:pos x="108" y="231"/>
                </a:cxn>
                <a:cxn ang="0">
                  <a:pos x="108" y="243"/>
                </a:cxn>
                <a:cxn ang="0">
                  <a:pos x="107" y="266"/>
                </a:cxn>
                <a:cxn ang="0">
                  <a:pos x="94" y="257"/>
                </a:cxn>
                <a:cxn ang="0">
                  <a:pos x="82" y="239"/>
                </a:cxn>
                <a:cxn ang="0">
                  <a:pos x="68" y="239"/>
                </a:cxn>
                <a:cxn ang="0">
                  <a:pos x="58" y="244"/>
                </a:cxn>
                <a:cxn ang="0">
                  <a:pos x="45" y="237"/>
                </a:cxn>
                <a:cxn ang="0">
                  <a:pos x="36" y="244"/>
                </a:cxn>
                <a:cxn ang="0">
                  <a:pos x="19" y="246"/>
                </a:cxn>
                <a:cxn ang="0">
                  <a:pos x="4" y="244"/>
                </a:cxn>
                <a:cxn ang="0">
                  <a:pos x="1" y="229"/>
                </a:cxn>
                <a:cxn ang="0">
                  <a:pos x="8" y="220"/>
                </a:cxn>
                <a:cxn ang="0">
                  <a:pos x="1" y="209"/>
                </a:cxn>
                <a:cxn ang="0">
                  <a:pos x="7" y="199"/>
                </a:cxn>
                <a:cxn ang="0">
                  <a:pos x="11" y="185"/>
                </a:cxn>
                <a:cxn ang="0">
                  <a:pos x="7" y="179"/>
                </a:cxn>
                <a:cxn ang="0">
                  <a:pos x="5" y="166"/>
                </a:cxn>
                <a:cxn ang="0">
                  <a:pos x="5" y="159"/>
                </a:cxn>
                <a:cxn ang="0">
                  <a:pos x="13" y="142"/>
                </a:cxn>
                <a:cxn ang="0">
                  <a:pos x="17" y="117"/>
                </a:cxn>
                <a:cxn ang="0">
                  <a:pos x="26" y="87"/>
                </a:cxn>
                <a:cxn ang="0">
                  <a:pos x="28" y="76"/>
                </a:cxn>
                <a:cxn ang="0">
                  <a:pos x="23" y="71"/>
                </a:cxn>
                <a:cxn ang="0">
                  <a:pos x="47" y="53"/>
                </a:cxn>
                <a:cxn ang="0">
                  <a:pos x="61" y="46"/>
                </a:cxn>
                <a:cxn ang="0">
                  <a:pos x="76" y="14"/>
                </a:cxn>
                <a:cxn ang="0">
                  <a:pos x="103" y="11"/>
                </a:cxn>
                <a:cxn ang="0">
                  <a:pos x="112" y="46"/>
                </a:cxn>
                <a:cxn ang="0">
                  <a:pos x="130" y="51"/>
                </a:cxn>
                <a:cxn ang="0">
                  <a:pos x="156" y="63"/>
                </a:cxn>
              </a:cxnLst>
              <a:rect l="0" t="0" r="r" b="b"/>
              <a:pathLst>
                <a:path w="159" h="266">
                  <a:moveTo>
                    <a:pt x="155" y="65"/>
                  </a:moveTo>
                  <a:cubicBezTo>
                    <a:pt x="153" y="68"/>
                    <a:pt x="154" y="74"/>
                    <a:pt x="151" y="77"/>
                  </a:cubicBezTo>
                  <a:cubicBezTo>
                    <a:pt x="148" y="79"/>
                    <a:pt x="143" y="76"/>
                    <a:pt x="140" y="77"/>
                  </a:cubicBezTo>
                  <a:cubicBezTo>
                    <a:pt x="136" y="78"/>
                    <a:pt x="133" y="81"/>
                    <a:pt x="130" y="81"/>
                  </a:cubicBezTo>
                  <a:cubicBezTo>
                    <a:pt x="127" y="82"/>
                    <a:pt x="125" y="80"/>
                    <a:pt x="122" y="81"/>
                  </a:cubicBezTo>
                  <a:cubicBezTo>
                    <a:pt x="119" y="81"/>
                    <a:pt x="117" y="84"/>
                    <a:pt x="115" y="86"/>
                  </a:cubicBezTo>
                  <a:cubicBezTo>
                    <a:pt x="113" y="88"/>
                    <a:pt x="114" y="91"/>
                    <a:pt x="111" y="93"/>
                  </a:cubicBezTo>
                  <a:cubicBezTo>
                    <a:pt x="108" y="94"/>
                    <a:pt x="102" y="90"/>
                    <a:pt x="99" y="93"/>
                  </a:cubicBezTo>
                  <a:cubicBezTo>
                    <a:pt x="96" y="96"/>
                    <a:pt x="100" y="103"/>
                    <a:pt x="99" y="105"/>
                  </a:cubicBezTo>
                  <a:cubicBezTo>
                    <a:pt x="98" y="108"/>
                    <a:pt x="95" y="105"/>
                    <a:pt x="94" y="107"/>
                  </a:cubicBezTo>
                  <a:cubicBezTo>
                    <a:pt x="94" y="110"/>
                    <a:pt x="94" y="118"/>
                    <a:pt x="95" y="121"/>
                  </a:cubicBezTo>
                  <a:cubicBezTo>
                    <a:pt x="96" y="124"/>
                    <a:pt x="98" y="124"/>
                    <a:pt x="101" y="125"/>
                  </a:cubicBezTo>
                  <a:cubicBezTo>
                    <a:pt x="103" y="125"/>
                    <a:pt x="107" y="124"/>
                    <a:pt x="110" y="126"/>
                  </a:cubicBezTo>
                  <a:cubicBezTo>
                    <a:pt x="112" y="128"/>
                    <a:pt x="113" y="131"/>
                    <a:pt x="114" y="135"/>
                  </a:cubicBezTo>
                  <a:cubicBezTo>
                    <a:pt x="114" y="139"/>
                    <a:pt x="114" y="146"/>
                    <a:pt x="114" y="149"/>
                  </a:cubicBezTo>
                  <a:cubicBezTo>
                    <a:pt x="113" y="153"/>
                    <a:pt x="111" y="151"/>
                    <a:pt x="110" y="154"/>
                  </a:cubicBezTo>
                  <a:cubicBezTo>
                    <a:pt x="109" y="158"/>
                    <a:pt x="110" y="166"/>
                    <a:pt x="108" y="169"/>
                  </a:cubicBezTo>
                  <a:cubicBezTo>
                    <a:pt x="107" y="173"/>
                    <a:pt x="104" y="171"/>
                    <a:pt x="103" y="175"/>
                  </a:cubicBezTo>
                  <a:cubicBezTo>
                    <a:pt x="102" y="178"/>
                    <a:pt x="104" y="186"/>
                    <a:pt x="104" y="191"/>
                  </a:cubicBezTo>
                  <a:cubicBezTo>
                    <a:pt x="104" y="196"/>
                    <a:pt x="101" y="202"/>
                    <a:pt x="102" y="206"/>
                  </a:cubicBezTo>
                  <a:cubicBezTo>
                    <a:pt x="102" y="210"/>
                    <a:pt x="107" y="207"/>
                    <a:pt x="108" y="211"/>
                  </a:cubicBezTo>
                  <a:cubicBezTo>
                    <a:pt x="109" y="216"/>
                    <a:pt x="108" y="226"/>
                    <a:pt x="108" y="231"/>
                  </a:cubicBezTo>
                  <a:cubicBezTo>
                    <a:pt x="107" y="235"/>
                    <a:pt x="106" y="236"/>
                    <a:pt x="106" y="239"/>
                  </a:cubicBezTo>
                  <a:cubicBezTo>
                    <a:pt x="106" y="241"/>
                    <a:pt x="108" y="239"/>
                    <a:pt x="108" y="243"/>
                  </a:cubicBezTo>
                  <a:cubicBezTo>
                    <a:pt x="109" y="248"/>
                    <a:pt x="110" y="259"/>
                    <a:pt x="109" y="263"/>
                  </a:cubicBezTo>
                  <a:cubicBezTo>
                    <a:pt x="109" y="265"/>
                    <a:pt x="108" y="265"/>
                    <a:pt x="107" y="266"/>
                  </a:cubicBezTo>
                  <a:cubicBezTo>
                    <a:pt x="106" y="264"/>
                    <a:pt x="105" y="261"/>
                    <a:pt x="103" y="261"/>
                  </a:cubicBezTo>
                  <a:cubicBezTo>
                    <a:pt x="99" y="259"/>
                    <a:pt x="97" y="258"/>
                    <a:pt x="94" y="257"/>
                  </a:cubicBezTo>
                  <a:cubicBezTo>
                    <a:pt x="92" y="255"/>
                    <a:pt x="92" y="253"/>
                    <a:pt x="90" y="250"/>
                  </a:cubicBezTo>
                  <a:cubicBezTo>
                    <a:pt x="88" y="247"/>
                    <a:pt x="84" y="242"/>
                    <a:pt x="82" y="239"/>
                  </a:cubicBezTo>
                  <a:cubicBezTo>
                    <a:pt x="79" y="236"/>
                    <a:pt x="78" y="235"/>
                    <a:pt x="75" y="235"/>
                  </a:cubicBezTo>
                  <a:cubicBezTo>
                    <a:pt x="73" y="235"/>
                    <a:pt x="70" y="237"/>
                    <a:pt x="68" y="239"/>
                  </a:cubicBezTo>
                  <a:cubicBezTo>
                    <a:pt x="66" y="240"/>
                    <a:pt x="65" y="242"/>
                    <a:pt x="64" y="243"/>
                  </a:cubicBezTo>
                  <a:cubicBezTo>
                    <a:pt x="62" y="244"/>
                    <a:pt x="60" y="245"/>
                    <a:pt x="58" y="244"/>
                  </a:cubicBezTo>
                  <a:cubicBezTo>
                    <a:pt x="56" y="244"/>
                    <a:pt x="55" y="241"/>
                    <a:pt x="53" y="239"/>
                  </a:cubicBezTo>
                  <a:cubicBezTo>
                    <a:pt x="51" y="238"/>
                    <a:pt x="48" y="237"/>
                    <a:pt x="45" y="237"/>
                  </a:cubicBezTo>
                  <a:cubicBezTo>
                    <a:pt x="43" y="237"/>
                    <a:pt x="42" y="238"/>
                    <a:pt x="40" y="239"/>
                  </a:cubicBezTo>
                  <a:cubicBezTo>
                    <a:pt x="39" y="241"/>
                    <a:pt x="39" y="243"/>
                    <a:pt x="36" y="244"/>
                  </a:cubicBezTo>
                  <a:cubicBezTo>
                    <a:pt x="32" y="244"/>
                    <a:pt x="25" y="242"/>
                    <a:pt x="22" y="243"/>
                  </a:cubicBezTo>
                  <a:cubicBezTo>
                    <a:pt x="19" y="243"/>
                    <a:pt x="21" y="245"/>
                    <a:pt x="19" y="246"/>
                  </a:cubicBezTo>
                  <a:cubicBezTo>
                    <a:pt x="18" y="247"/>
                    <a:pt x="14" y="249"/>
                    <a:pt x="12" y="249"/>
                  </a:cubicBezTo>
                  <a:cubicBezTo>
                    <a:pt x="9" y="248"/>
                    <a:pt x="6" y="246"/>
                    <a:pt x="4" y="244"/>
                  </a:cubicBezTo>
                  <a:cubicBezTo>
                    <a:pt x="3" y="243"/>
                    <a:pt x="1" y="242"/>
                    <a:pt x="1" y="239"/>
                  </a:cubicBezTo>
                  <a:cubicBezTo>
                    <a:pt x="0" y="236"/>
                    <a:pt x="0" y="231"/>
                    <a:pt x="1" y="229"/>
                  </a:cubicBezTo>
                  <a:cubicBezTo>
                    <a:pt x="2" y="227"/>
                    <a:pt x="5" y="229"/>
                    <a:pt x="6" y="227"/>
                  </a:cubicBezTo>
                  <a:cubicBezTo>
                    <a:pt x="7" y="225"/>
                    <a:pt x="8" y="222"/>
                    <a:pt x="8" y="220"/>
                  </a:cubicBezTo>
                  <a:cubicBezTo>
                    <a:pt x="8" y="217"/>
                    <a:pt x="6" y="215"/>
                    <a:pt x="5" y="213"/>
                  </a:cubicBezTo>
                  <a:cubicBezTo>
                    <a:pt x="4" y="211"/>
                    <a:pt x="1" y="211"/>
                    <a:pt x="1" y="209"/>
                  </a:cubicBezTo>
                  <a:cubicBezTo>
                    <a:pt x="0" y="207"/>
                    <a:pt x="2" y="206"/>
                    <a:pt x="3" y="204"/>
                  </a:cubicBezTo>
                  <a:cubicBezTo>
                    <a:pt x="4" y="202"/>
                    <a:pt x="6" y="202"/>
                    <a:pt x="7" y="199"/>
                  </a:cubicBezTo>
                  <a:cubicBezTo>
                    <a:pt x="7" y="196"/>
                    <a:pt x="6" y="190"/>
                    <a:pt x="7" y="187"/>
                  </a:cubicBezTo>
                  <a:cubicBezTo>
                    <a:pt x="8" y="184"/>
                    <a:pt x="10" y="186"/>
                    <a:pt x="11" y="185"/>
                  </a:cubicBezTo>
                  <a:cubicBezTo>
                    <a:pt x="12" y="184"/>
                    <a:pt x="12" y="182"/>
                    <a:pt x="11" y="181"/>
                  </a:cubicBezTo>
                  <a:cubicBezTo>
                    <a:pt x="10" y="180"/>
                    <a:pt x="7" y="181"/>
                    <a:pt x="7" y="179"/>
                  </a:cubicBezTo>
                  <a:cubicBezTo>
                    <a:pt x="6" y="178"/>
                    <a:pt x="7" y="177"/>
                    <a:pt x="7" y="174"/>
                  </a:cubicBezTo>
                  <a:cubicBezTo>
                    <a:pt x="7" y="172"/>
                    <a:pt x="8" y="171"/>
                    <a:pt x="5" y="166"/>
                  </a:cubicBezTo>
                  <a:cubicBezTo>
                    <a:pt x="4" y="164"/>
                    <a:pt x="2" y="162"/>
                    <a:pt x="0" y="160"/>
                  </a:cubicBezTo>
                  <a:cubicBezTo>
                    <a:pt x="2" y="160"/>
                    <a:pt x="3" y="159"/>
                    <a:pt x="5" y="159"/>
                  </a:cubicBezTo>
                  <a:cubicBezTo>
                    <a:pt x="9" y="157"/>
                    <a:pt x="3" y="153"/>
                    <a:pt x="5" y="150"/>
                  </a:cubicBezTo>
                  <a:cubicBezTo>
                    <a:pt x="6" y="147"/>
                    <a:pt x="11" y="145"/>
                    <a:pt x="13" y="142"/>
                  </a:cubicBezTo>
                  <a:cubicBezTo>
                    <a:pt x="15" y="139"/>
                    <a:pt x="15" y="138"/>
                    <a:pt x="16" y="134"/>
                  </a:cubicBezTo>
                  <a:cubicBezTo>
                    <a:pt x="16" y="129"/>
                    <a:pt x="15" y="122"/>
                    <a:pt x="17" y="117"/>
                  </a:cubicBezTo>
                  <a:cubicBezTo>
                    <a:pt x="19" y="113"/>
                    <a:pt x="24" y="114"/>
                    <a:pt x="26" y="108"/>
                  </a:cubicBezTo>
                  <a:cubicBezTo>
                    <a:pt x="28" y="103"/>
                    <a:pt x="25" y="91"/>
                    <a:pt x="26" y="87"/>
                  </a:cubicBezTo>
                  <a:cubicBezTo>
                    <a:pt x="27" y="83"/>
                    <a:pt x="29" y="86"/>
                    <a:pt x="29" y="84"/>
                  </a:cubicBezTo>
                  <a:cubicBezTo>
                    <a:pt x="30" y="81"/>
                    <a:pt x="30" y="79"/>
                    <a:pt x="28" y="76"/>
                  </a:cubicBezTo>
                  <a:cubicBezTo>
                    <a:pt x="27" y="74"/>
                    <a:pt x="24" y="73"/>
                    <a:pt x="22" y="72"/>
                  </a:cubicBezTo>
                  <a:cubicBezTo>
                    <a:pt x="22" y="72"/>
                    <a:pt x="23" y="71"/>
                    <a:pt x="23" y="71"/>
                  </a:cubicBezTo>
                  <a:cubicBezTo>
                    <a:pt x="25" y="70"/>
                    <a:pt x="31" y="70"/>
                    <a:pt x="35" y="67"/>
                  </a:cubicBezTo>
                  <a:cubicBezTo>
                    <a:pt x="39" y="64"/>
                    <a:pt x="45" y="57"/>
                    <a:pt x="47" y="53"/>
                  </a:cubicBezTo>
                  <a:cubicBezTo>
                    <a:pt x="50" y="49"/>
                    <a:pt x="47" y="46"/>
                    <a:pt x="50" y="45"/>
                  </a:cubicBezTo>
                  <a:cubicBezTo>
                    <a:pt x="53" y="43"/>
                    <a:pt x="59" y="49"/>
                    <a:pt x="61" y="46"/>
                  </a:cubicBezTo>
                  <a:cubicBezTo>
                    <a:pt x="64" y="42"/>
                    <a:pt x="60" y="35"/>
                    <a:pt x="62" y="29"/>
                  </a:cubicBezTo>
                  <a:cubicBezTo>
                    <a:pt x="65" y="23"/>
                    <a:pt x="72" y="19"/>
                    <a:pt x="76" y="14"/>
                  </a:cubicBezTo>
                  <a:cubicBezTo>
                    <a:pt x="81" y="10"/>
                    <a:pt x="85" y="2"/>
                    <a:pt x="90" y="1"/>
                  </a:cubicBezTo>
                  <a:cubicBezTo>
                    <a:pt x="96" y="0"/>
                    <a:pt x="100" y="5"/>
                    <a:pt x="103" y="11"/>
                  </a:cubicBezTo>
                  <a:cubicBezTo>
                    <a:pt x="106" y="17"/>
                    <a:pt x="104" y="28"/>
                    <a:pt x="106" y="34"/>
                  </a:cubicBezTo>
                  <a:cubicBezTo>
                    <a:pt x="108" y="40"/>
                    <a:pt x="108" y="44"/>
                    <a:pt x="112" y="46"/>
                  </a:cubicBezTo>
                  <a:cubicBezTo>
                    <a:pt x="116" y="47"/>
                    <a:pt x="122" y="42"/>
                    <a:pt x="126" y="43"/>
                  </a:cubicBezTo>
                  <a:cubicBezTo>
                    <a:pt x="129" y="44"/>
                    <a:pt x="126" y="51"/>
                    <a:pt x="130" y="51"/>
                  </a:cubicBezTo>
                  <a:cubicBezTo>
                    <a:pt x="134" y="50"/>
                    <a:pt x="132" y="36"/>
                    <a:pt x="140" y="41"/>
                  </a:cubicBezTo>
                  <a:cubicBezTo>
                    <a:pt x="145" y="45"/>
                    <a:pt x="149" y="54"/>
                    <a:pt x="156" y="63"/>
                  </a:cubicBezTo>
                  <a:cubicBezTo>
                    <a:pt x="159" y="58"/>
                    <a:pt x="156" y="62"/>
                    <a:pt x="155" y="6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5" name="Freeform 28"/>
            <p:cNvSpPr>
              <a:spLocks noEditPoints="1"/>
            </p:cNvSpPr>
            <p:nvPr/>
          </p:nvSpPr>
          <p:spPr bwMode="auto">
            <a:xfrm rot="21439583">
              <a:off x="4551519" y="5058292"/>
              <a:ext cx="1228136" cy="732240"/>
            </a:xfrm>
            <a:custGeom>
              <a:avLst/>
              <a:gdLst/>
              <a:ahLst/>
              <a:cxnLst>
                <a:cxn ang="0">
                  <a:pos x="16" y="101"/>
                </a:cxn>
                <a:cxn ang="0">
                  <a:pos x="34" y="100"/>
                </a:cxn>
                <a:cxn ang="0">
                  <a:pos x="27" y="83"/>
                </a:cxn>
                <a:cxn ang="0">
                  <a:pos x="32" y="68"/>
                </a:cxn>
                <a:cxn ang="0">
                  <a:pos x="46" y="62"/>
                </a:cxn>
                <a:cxn ang="0">
                  <a:pos x="56" y="46"/>
                </a:cxn>
                <a:cxn ang="0">
                  <a:pos x="65" y="39"/>
                </a:cxn>
                <a:cxn ang="0">
                  <a:pos x="75" y="45"/>
                </a:cxn>
                <a:cxn ang="0">
                  <a:pos x="81" y="37"/>
                </a:cxn>
                <a:cxn ang="0">
                  <a:pos x="83" y="27"/>
                </a:cxn>
                <a:cxn ang="0">
                  <a:pos x="92" y="12"/>
                </a:cxn>
                <a:cxn ang="0">
                  <a:pos x="107" y="7"/>
                </a:cxn>
                <a:cxn ang="0">
                  <a:pos x="117" y="9"/>
                </a:cxn>
                <a:cxn ang="0">
                  <a:pos x="132" y="11"/>
                </a:cxn>
                <a:cxn ang="0">
                  <a:pos x="149" y="9"/>
                </a:cxn>
                <a:cxn ang="0">
                  <a:pos x="158" y="2"/>
                </a:cxn>
                <a:cxn ang="0">
                  <a:pos x="171" y="9"/>
                </a:cxn>
                <a:cxn ang="0">
                  <a:pos x="181" y="4"/>
                </a:cxn>
                <a:cxn ang="0">
                  <a:pos x="195" y="4"/>
                </a:cxn>
                <a:cxn ang="0">
                  <a:pos x="207" y="22"/>
                </a:cxn>
                <a:cxn ang="0">
                  <a:pos x="220" y="31"/>
                </a:cxn>
                <a:cxn ang="0">
                  <a:pos x="211" y="37"/>
                </a:cxn>
                <a:cxn ang="0">
                  <a:pos x="208" y="59"/>
                </a:cxn>
                <a:cxn ang="0">
                  <a:pos x="199" y="77"/>
                </a:cxn>
                <a:cxn ang="0">
                  <a:pos x="192" y="89"/>
                </a:cxn>
                <a:cxn ang="0">
                  <a:pos x="180" y="98"/>
                </a:cxn>
                <a:cxn ang="0">
                  <a:pos x="163" y="110"/>
                </a:cxn>
                <a:cxn ang="0">
                  <a:pos x="157" y="133"/>
                </a:cxn>
                <a:cxn ang="0">
                  <a:pos x="148" y="137"/>
                </a:cxn>
                <a:cxn ang="0">
                  <a:pos x="140" y="143"/>
                </a:cxn>
                <a:cxn ang="0">
                  <a:pos x="130" y="136"/>
                </a:cxn>
                <a:cxn ang="0">
                  <a:pos x="114" y="149"/>
                </a:cxn>
                <a:cxn ang="0">
                  <a:pos x="101" y="154"/>
                </a:cxn>
                <a:cxn ang="0">
                  <a:pos x="85" y="149"/>
                </a:cxn>
                <a:cxn ang="0">
                  <a:pos x="81" y="139"/>
                </a:cxn>
                <a:cxn ang="0">
                  <a:pos x="72" y="142"/>
                </a:cxn>
                <a:cxn ang="0">
                  <a:pos x="74" y="129"/>
                </a:cxn>
                <a:cxn ang="0">
                  <a:pos x="65" y="122"/>
                </a:cxn>
                <a:cxn ang="0">
                  <a:pos x="66" y="132"/>
                </a:cxn>
                <a:cxn ang="0">
                  <a:pos x="60" y="142"/>
                </a:cxn>
                <a:cxn ang="0">
                  <a:pos x="46" y="135"/>
                </a:cxn>
                <a:cxn ang="0">
                  <a:pos x="33" y="142"/>
                </a:cxn>
                <a:cxn ang="0">
                  <a:pos x="18" y="132"/>
                </a:cxn>
                <a:cxn ang="0">
                  <a:pos x="1" y="117"/>
                </a:cxn>
                <a:cxn ang="0">
                  <a:pos x="114" y="4"/>
                </a:cxn>
                <a:cxn ang="0">
                  <a:pos x="114" y="4"/>
                </a:cxn>
                <a:cxn ang="0">
                  <a:pos x="114" y="5"/>
                </a:cxn>
              </a:cxnLst>
              <a:rect l="0" t="0" r="r" b="b"/>
              <a:pathLst>
                <a:path w="220" h="154">
                  <a:moveTo>
                    <a:pt x="8" y="104"/>
                  </a:moveTo>
                  <a:cubicBezTo>
                    <a:pt x="13" y="103"/>
                    <a:pt x="13" y="101"/>
                    <a:pt x="16" y="101"/>
                  </a:cubicBezTo>
                  <a:cubicBezTo>
                    <a:pt x="19" y="101"/>
                    <a:pt x="23" y="106"/>
                    <a:pt x="27" y="106"/>
                  </a:cubicBezTo>
                  <a:cubicBezTo>
                    <a:pt x="30" y="106"/>
                    <a:pt x="33" y="103"/>
                    <a:pt x="34" y="100"/>
                  </a:cubicBezTo>
                  <a:cubicBezTo>
                    <a:pt x="35" y="97"/>
                    <a:pt x="33" y="93"/>
                    <a:pt x="32" y="90"/>
                  </a:cubicBezTo>
                  <a:cubicBezTo>
                    <a:pt x="31" y="87"/>
                    <a:pt x="28" y="86"/>
                    <a:pt x="27" y="83"/>
                  </a:cubicBezTo>
                  <a:cubicBezTo>
                    <a:pt x="26" y="80"/>
                    <a:pt x="26" y="75"/>
                    <a:pt x="27" y="72"/>
                  </a:cubicBezTo>
                  <a:cubicBezTo>
                    <a:pt x="28" y="70"/>
                    <a:pt x="30" y="69"/>
                    <a:pt x="32" y="68"/>
                  </a:cubicBezTo>
                  <a:cubicBezTo>
                    <a:pt x="34" y="67"/>
                    <a:pt x="36" y="67"/>
                    <a:pt x="39" y="66"/>
                  </a:cubicBezTo>
                  <a:cubicBezTo>
                    <a:pt x="41" y="65"/>
                    <a:pt x="44" y="65"/>
                    <a:pt x="46" y="62"/>
                  </a:cubicBezTo>
                  <a:cubicBezTo>
                    <a:pt x="48" y="59"/>
                    <a:pt x="47" y="53"/>
                    <a:pt x="49" y="50"/>
                  </a:cubicBezTo>
                  <a:cubicBezTo>
                    <a:pt x="51" y="47"/>
                    <a:pt x="53" y="47"/>
                    <a:pt x="56" y="46"/>
                  </a:cubicBezTo>
                  <a:cubicBezTo>
                    <a:pt x="58" y="45"/>
                    <a:pt x="62" y="46"/>
                    <a:pt x="64" y="45"/>
                  </a:cubicBezTo>
                  <a:cubicBezTo>
                    <a:pt x="66" y="43"/>
                    <a:pt x="64" y="41"/>
                    <a:pt x="65" y="39"/>
                  </a:cubicBezTo>
                  <a:cubicBezTo>
                    <a:pt x="66" y="38"/>
                    <a:pt x="67" y="35"/>
                    <a:pt x="70" y="36"/>
                  </a:cubicBezTo>
                  <a:cubicBezTo>
                    <a:pt x="72" y="37"/>
                    <a:pt x="73" y="43"/>
                    <a:pt x="75" y="45"/>
                  </a:cubicBezTo>
                  <a:cubicBezTo>
                    <a:pt x="78" y="46"/>
                    <a:pt x="81" y="47"/>
                    <a:pt x="83" y="45"/>
                  </a:cubicBezTo>
                  <a:cubicBezTo>
                    <a:pt x="85" y="43"/>
                    <a:pt x="82" y="40"/>
                    <a:pt x="81" y="37"/>
                  </a:cubicBezTo>
                  <a:cubicBezTo>
                    <a:pt x="80" y="35"/>
                    <a:pt x="78" y="33"/>
                    <a:pt x="78" y="31"/>
                  </a:cubicBezTo>
                  <a:cubicBezTo>
                    <a:pt x="79" y="28"/>
                    <a:pt x="82" y="29"/>
                    <a:pt x="83" y="27"/>
                  </a:cubicBezTo>
                  <a:cubicBezTo>
                    <a:pt x="84" y="24"/>
                    <a:pt x="81" y="20"/>
                    <a:pt x="83" y="17"/>
                  </a:cubicBezTo>
                  <a:cubicBezTo>
                    <a:pt x="85" y="14"/>
                    <a:pt x="89" y="13"/>
                    <a:pt x="92" y="12"/>
                  </a:cubicBezTo>
                  <a:cubicBezTo>
                    <a:pt x="96" y="12"/>
                    <a:pt x="100" y="15"/>
                    <a:pt x="103" y="14"/>
                  </a:cubicBezTo>
                  <a:cubicBezTo>
                    <a:pt x="106" y="13"/>
                    <a:pt x="103" y="9"/>
                    <a:pt x="107" y="7"/>
                  </a:cubicBezTo>
                  <a:cubicBezTo>
                    <a:pt x="109" y="6"/>
                    <a:pt x="111" y="6"/>
                    <a:pt x="114" y="5"/>
                  </a:cubicBezTo>
                  <a:cubicBezTo>
                    <a:pt x="115" y="7"/>
                    <a:pt x="116" y="8"/>
                    <a:pt x="117" y="9"/>
                  </a:cubicBezTo>
                  <a:cubicBezTo>
                    <a:pt x="119" y="11"/>
                    <a:pt x="122" y="13"/>
                    <a:pt x="125" y="14"/>
                  </a:cubicBezTo>
                  <a:cubicBezTo>
                    <a:pt x="127" y="14"/>
                    <a:pt x="131" y="12"/>
                    <a:pt x="132" y="11"/>
                  </a:cubicBezTo>
                  <a:cubicBezTo>
                    <a:pt x="134" y="10"/>
                    <a:pt x="132" y="8"/>
                    <a:pt x="135" y="8"/>
                  </a:cubicBezTo>
                  <a:cubicBezTo>
                    <a:pt x="138" y="7"/>
                    <a:pt x="145" y="9"/>
                    <a:pt x="149" y="9"/>
                  </a:cubicBezTo>
                  <a:cubicBezTo>
                    <a:pt x="152" y="8"/>
                    <a:pt x="152" y="6"/>
                    <a:pt x="153" y="4"/>
                  </a:cubicBezTo>
                  <a:cubicBezTo>
                    <a:pt x="155" y="3"/>
                    <a:pt x="156" y="2"/>
                    <a:pt x="158" y="2"/>
                  </a:cubicBezTo>
                  <a:cubicBezTo>
                    <a:pt x="161" y="2"/>
                    <a:pt x="164" y="3"/>
                    <a:pt x="166" y="4"/>
                  </a:cubicBezTo>
                  <a:cubicBezTo>
                    <a:pt x="168" y="6"/>
                    <a:pt x="169" y="9"/>
                    <a:pt x="171" y="9"/>
                  </a:cubicBezTo>
                  <a:cubicBezTo>
                    <a:pt x="173" y="10"/>
                    <a:pt x="175" y="9"/>
                    <a:pt x="177" y="8"/>
                  </a:cubicBezTo>
                  <a:cubicBezTo>
                    <a:pt x="178" y="7"/>
                    <a:pt x="179" y="5"/>
                    <a:pt x="181" y="4"/>
                  </a:cubicBezTo>
                  <a:cubicBezTo>
                    <a:pt x="183" y="2"/>
                    <a:pt x="186" y="0"/>
                    <a:pt x="188" y="0"/>
                  </a:cubicBezTo>
                  <a:cubicBezTo>
                    <a:pt x="191" y="0"/>
                    <a:pt x="192" y="1"/>
                    <a:pt x="195" y="4"/>
                  </a:cubicBezTo>
                  <a:cubicBezTo>
                    <a:pt x="197" y="7"/>
                    <a:pt x="201" y="12"/>
                    <a:pt x="203" y="15"/>
                  </a:cubicBezTo>
                  <a:cubicBezTo>
                    <a:pt x="205" y="18"/>
                    <a:pt x="205" y="20"/>
                    <a:pt x="207" y="22"/>
                  </a:cubicBezTo>
                  <a:cubicBezTo>
                    <a:pt x="210" y="23"/>
                    <a:pt x="212" y="24"/>
                    <a:pt x="216" y="26"/>
                  </a:cubicBezTo>
                  <a:cubicBezTo>
                    <a:pt x="218" y="26"/>
                    <a:pt x="219" y="29"/>
                    <a:pt x="220" y="31"/>
                  </a:cubicBezTo>
                  <a:cubicBezTo>
                    <a:pt x="219" y="31"/>
                    <a:pt x="219" y="32"/>
                    <a:pt x="218" y="33"/>
                  </a:cubicBezTo>
                  <a:cubicBezTo>
                    <a:pt x="215" y="34"/>
                    <a:pt x="213" y="35"/>
                    <a:pt x="211" y="37"/>
                  </a:cubicBezTo>
                  <a:cubicBezTo>
                    <a:pt x="208" y="40"/>
                    <a:pt x="209" y="44"/>
                    <a:pt x="208" y="47"/>
                  </a:cubicBezTo>
                  <a:cubicBezTo>
                    <a:pt x="208" y="51"/>
                    <a:pt x="210" y="56"/>
                    <a:pt x="208" y="59"/>
                  </a:cubicBezTo>
                  <a:cubicBezTo>
                    <a:pt x="206" y="62"/>
                    <a:pt x="200" y="60"/>
                    <a:pt x="198" y="64"/>
                  </a:cubicBezTo>
                  <a:cubicBezTo>
                    <a:pt x="197" y="67"/>
                    <a:pt x="200" y="74"/>
                    <a:pt x="199" y="77"/>
                  </a:cubicBezTo>
                  <a:cubicBezTo>
                    <a:pt x="198" y="80"/>
                    <a:pt x="195" y="78"/>
                    <a:pt x="194" y="80"/>
                  </a:cubicBezTo>
                  <a:cubicBezTo>
                    <a:pt x="193" y="82"/>
                    <a:pt x="194" y="87"/>
                    <a:pt x="192" y="89"/>
                  </a:cubicBezTo>
                  <a:cubicBezTo>
                    <a:pt x="190" y="91"/>
                    <a:pt x="186" y="89"/>
                    <a:pt x="184" y="90"/>
                  </a:cubicBezTo>
                  <a:cubicBezTo>
                    <a:pt x="182" y="92"/>
                    <a:pt x="182" y="96"/>
                    <a:pt x="180" y="98"/>
                  </a:cubicBezTo>
                  <a:cubicBezTo>
                    <a:pt x="177" y="101"/>
                    <a:pt x="173" y="103"/>
                    <a:pt x="170" y="105"/>
                  </a:cubicBezTo>
                  <a:cubicBezTo>
                    <a:pt x="167" y="107"/>
                    <a:pt x="165" y="108"/>
                    <a:pt x="163" y="110"/>
                  </a:cubicBezTo>
                  <a:cubicBezTo>
                    <a:pt x="161" y="112"/>
                    <a:pt x="158" y="114"/>
                    <a:pt x="157" y="118"/>
                  </a:cubicBezTo>
                  <a:cubicBezTo>
                    <a:pt x="156" y="122"/>
                    <a:pt x="159" y="130"/>
                    <a:pt x="157" y="133"/>
                  </a:cubicBezTo>
                  <a:cubicBezTo>
                    <a:pt x="156" y="136"/>
                    <a:pt x="154" y="132"/>
                    <a:pt x="152" y="133"/>
                  </a:cubicBezTo>
                  <a:cubicBezTo>
                    <a:pt x="150" y="134"/>
                    <a:pt x="148" y="135"/>
                    <a:pt x="148" y="137"/>
                  </a:cubicBezTo>
                  <a:cubicBezTo>
                    <a:pt x="147" y="139"/>
                    <a:pt x="149" y="143"/>
                    <a:pt x="147" y="145"/>
                  </a:cubicBezTo>
                  <a:cubicBezTo>
                    <a:pt x="145" y="146"/>
                    <a:pt x="142" y="144"/>
                    <a:pt x="140" y="143"/>
                  </a:cubicBezTo>
                  <a:cubicBezTo>
                    <a:pt x="138" y="141"/>
                    <a:pt x="138" y="138"/>
                    <a:pt x="136" y="137"/>
                  </a:cubicBezTo>
                  <a:cubicBezTo>
                    <a:pt x="134" y="135"/>
                    <a:pt x="133" y="134"/>
                    <a:pt x="130" y="136"/>
                  </a:cubicBezTo>
                  <a:cubicBezTo>
                    <a:pt x="127" y="137"/>
                    <a:pt x="121" y="141"/>
                    <a:pt x="119" y="143"/>
                  </a:cubicBezTo>
                  <a:cubicBezTo>
                    <a:pt x="116" y="146"/>
                    <a:pt x="117" y="149"/>
                    <a:pt x="114" y="149"/>
                  </a:cubicBezTo>
                  <a:cubicBezTo>
                    <a:pt x="112" y="150"/>
                    <a:pt x="108" y="146"/>
                    <a:pt x="106" y="147"/>
                  </a:cubicBezTo>
                  <a:cubicBezTo>
                    <a:pt x="103" y="148"/>
                    <a:pt x="110" y="152"/>
                    <a:pt x="101" y="154"/>
                  </a:cubicBezTo>
                  <a:cubicBezTo>
                    <a:pt x="99" y="154"/>
                    <a:pt x="96" y="154"/>
                    <a:pt x="93" y="154"/>
                  </a:cubicBezTo>
                  <a:cubicBezTo>
                    <a:pt x="92" y="150"/>
                    <a:pt x="87" y="152"/>
                    <a:pt x="85" y="149"/>
                  </a:cubicBezTo>
                  <a:cubicBezTo>
                    <a:pt x="84" y="146"/>
                    <a:pt x="87" y="142"/>
                    <a:pt x="86" y="140"/>
                  </a:cubicBezTo>
                  <a:cubicBezTo>
                    <a:pt x="85" y="137"/>
                    <a:pt x="83" y="137"/>
                    <a:pt x="81" y="139"/>
                  </a:cubicBezTo>
                  <a:cubicBezTo>
                    <a:pt x="79" y="140"/>
                    <a:pt x="80" y="146"/>
                    <a:pt x="78" y="147"/>
                  </a:cubicBezTo>
                  <a:cubicBezTo>
                    <a:pt x="75" y="148"/>
                    <a:pt x="74" y="145"/>
                    <a:pt x="72" y="142"/>
                  </a:cubicBezTo>
                  <a:cubicBezTo>
                    <a:pt x="71" y="140"/>
                    <a:pt x="70" y="136"/>
                    <a:pt x="71" y="133"/>
                  </a:cubicBezTo>
                  <a:cubicBezTo>
                    <a:pt x="71" y="131"/>
                    <a:pt x="74" y="131"/>
                    <a:pt x="74" y="129"/>
                  </a:cubicBezTo>
                  <a:cubicBezTo>
                    <a:pt x="74" y="127"/>
                    <a:pt x="74" y="124"/>
                    <a:pt x="72" y="123"/>
                  </a:cubicBezTo>
                  <a:cubicBezTo>
                    <a:pt x="70" y="121"/>
                    <a:pt x="67" y="121"/>
                    <a:pt x="65" y="122"/>
                  </a:cubicBezTo>
                  <a:cubicBezTo>
                    <a:pt x="63" y="122"/>
                    <a:pt x="62" y="124"/>
                    <a:pt x="62" y="126"/>
                  </a:cubicBezTo>
                  <a:cubicBezTo>
                    <a:pt x="62" y="128"/>
                    <a:pt x="65" y="130"/>
                    <a:pt x="66" y="132"/>
                  </a:cubicBezTo>
                  <a:cubicBezTo>
                    <a:pt x="66" y="134"/>
                    <a:pt x="67" y="137"/>
                    <a:pt x="66" y="139"/>
                  </a:cubicBezTo>
                  <a:cubicBezTo>
                    <a:pt x="64" y="141"/>
                    <a:pt x="62" y="143"/>
                    <a:pt x="60" y="142"/>
                  </a:cubicBezTo>
                  <a:cubicBezTo>
                    <a:pt x="57" y="141"/>
                    <a:pt x="56" y="136"/>
                    <a:pt x="53" y="135"/>
                  </a:cubicBezTo>
                  <a:cubicBezTo>
                    <a:pt x="51" y="134"/>
                    <a:pt x="49" y="134"/>
                    <a:pt x="46" y="135"/>
                  </a:cubicBezTo>
                  <a:cubicBezTo>
                    <a:pt x="43" y="135"/>
                    <a:pt x="38" y="136"/>
                    <a:pt x="36" y="137"/>
                  </a:cubicBezTo>
                  <a:cubicBezTo>
                    <a:pt x="34" y="138"/>
                    <a:pt x="36" y="141"/>
                    <a:pt x="33" y="142"/>
                  </a:cubicBezTo>
                  <a:cubicBezTo>
                    <a:pt x="29" y="142"/>
                    <a:pt x="22" y="143"/>
                    <a:pt x="19" y="141"/>
                  </a:cubicBezTo>
                  <a:cubicBezTo>
                    <a:pt x="16" y="139"/>
                    <a:pt x="20" y="135"/>
                    <a:pt x="18" y="132"/>
                  </a:cubicBezTo>
                  <a:cubicBezTo>
                    <a:pt x="16" y="129"/>
                    <a:pt x="10" y="129"/>
                    <a:pt x="7" y="126"/>
                  </a:cubicBezTo>
                  <a:cubicBezTo>
                    <a:pt x="4" y="124"/>
                    <a:pt x="1" y="121"/>
                    <a:pt x="1" y="117"/>
                  </a:cubicBezTo>
                  <a:cubicBezTo>
                    <a:pt x="0" y="111"/>
                    <a:pt x="2" y="105"/>
                    <a:pt x="8" y="104"/>
                  </a:cubicBezTo>
                  <a:close/>
                  <a:moveTo>
                    <a:pt x="114" y="4"/>
                  </a:moveTo>
                  <a:lnTo>
                    <a:pt x="114" y="4"/>
                  </a:lnTo>
                  <a:cubicBezTo>
                    <a:pt x="114" y="4"/>
                    <a:pt x="114" y="4"/>
                    <a:pt x="114" y="4"/>
                  </a:cubicBezTo>
                  <a:close/>
                  <a:moveTo>
                    <a:pt x="114" y="5"/>
                  </a:moveTo>
                  <a:cubicBezTo>
                    <a:pt x="114" y="5"/>
                    <a:pt x="114" y="5"/>
                    <a:pt x="114" y="5"/>
                  </a:cubicBezTo>
                  <a:cubicBezTo>
                    <a:pt x="114" y="5"/>
                    <a:pt x="114" y="5"/>
                    <a:pt x="114" y="5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6" name="Freeform 17"/>
            <p:cNvSpPr>
              <a:spLocks/>
            </p:cNvSpPr>
            <p:nvPr/>
          </p:nvSpPr>
          <p:spPr bwMode="auto">
            <a:xfrm rot="21439583">
              <a:off x="4205241" y="6107695"/>
              <a:ext cx="292032" cy="146448"/>
            </a:xfrm>
            <a:custGeom>
              <a:avLst/>
              <a:gdLst/>
              <a:ahLst/>
              <a:cxnLst>
                <a:cxn ang="0">
                  <a:pos x="20" y="31"/>
                </a:cxn>
                <a:cxn ang="0">
                  <a:pos x="27" y="28"/>
                </a:cxn>
                <a:cxn ang="0">
                  <a:pos x="34" y="21"/>
                </a:cxn>
                <a:cxn ang="0">
                  <a:pos x="51" y="16"/>
                </a:cxn>
                <a:cxn ang="0">
                  <a:pos x="36" y="0"/>
                </a:cxn>
                <a:cxn ang="0">
                  <a:pos x="30" y="10"/>
                </a:cxn>
                <a:cxn ang="0">
                  <a:pos x="23" y="12"/>
                </a:cxn>
                <a:cxn ang="0">
                  <a:pos x="14" y="15"/>
                </a:cxn>
                <a:cxn ang="0">
                  <a:pos x="5" y="19"/>
                </a:cxn>
                <a:cxn ang="0">
                  <a:pos x="3" y="25"/>
                </a:cxn>
                <a:cxn ang="0">
                  <a:pos x="20" y="25"/>
                </a:cxn>
                <a:cxn ang="0">
                  <a:pos x="20" y="31"/>
                </a:cxn>
              </a:cxnLst>
              <a:rect l="0" t="0" r="r" b="b"/>
              <a:pathLst>
                <a:path w="52" h="31">
                  <a:moveTo>
                    <a:pt x="20" y="31"/>
                  </a:moveTo>
                  <a:cubicBezTo>
                    <a:pt x="23" y="30"/>
                    <a:pt x="25" y="29"/>
                    <a:pt x="27" y="28"/>
                  </a:cubicBezTo>
                  <a:cubicBezTo>
                    <a:pt x="32" y="25"/>
                    <a:pt x="30" y="23"/>
                    <a:pt x="34" y="21"/>
                  </a:cubicBezTo>
                  <a:cubicBezTo>
                    <a:pt x="38" y="19"/>
                    <a:pt x="50" y="22"/>
                    <a:pt x="51" y="16"/>
                  </a:cubicBezTo>
                  <a:cubicBezTo>
                    <a:pt x="52" y="9"/>
                    <a:pt x="46" y="1"/>
                    <a:pt x="36" y="0"/>
                  </a:cubicBezTo>
                  <a:cubicBezTo>
                    <a:pt x="35" y="3"/>
                    <a:pt x="33" y="8"/>
                    <a:pt x="30" y="10"/>
                  </a:cubicBezTo>
                  <a:cubicBezTo>
                    <a:pt x="28" y="12"/>
                    <a:pt x="25" y="11"/>
                    <a:pt x="23" y="12"/>
                  </a:cubicBezTo>
                  <a:cubicBezTo>
                    <a:pt x="20" y="13"/>
                    <a:pt x="17" y="13"/>
                    <a:pt x="14" y="15"/>
                  </a:cubicBezTo>
                  <a:cubicBezTo>
                    <a:pt x="11" y="16"/>
                    <a:pt x="7" y="17"/>
                    <a:pt x="5" y="19"/>
                  </a:cubicBezTo>
                  <a:cubicBezTo>
                    <a:pt x="3" y="21"/>
                    <a:pt x="0" y="23"/>
                    <a:pt x="3" y="25"/>
                  </a:cubicBezTo>
                  <a:cubicBezTo>
                    <a:pt x="7" y="26"/>
                    <a:pt x="17" y="24"/>
                    <a:pt x="20" y="25"/>
                  </a:cubicBezTo>
                  <a:cubicBezTo>
                    <a:pt x="23" y="26"/>
                    <a:pt x="20" y="29"/>
                    <a:pt x="20" y="31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7" name="Freeform 22"/>
            <p:cNvSpPr>
              <a:spLocks/>
            </p:cNvSpPr>
            <p:nvPr/>
          </p:nvSpPr>
          <p:spPr bwMode="auto">
            <a:xfrm rot="21439583">
              <a:off x="4012980" y="3893632"/>
              <a:ext cx="682076" cy="883797"/>
            </a:xfrm>
            <a:custGeom>
              <a:avLst/>
              <a:gdLst/>
              <a:ahLst/>
              <a:cxnLst>
                <a:cxn ang="0">
                  <a:pos x="86" y="29"/>
                </a:cxn>
                <a:cxn ang="0">
                  <a:pos x="95" y="46"/>
                </a:cxn>
                <a:cxn ang="0">
                  <a:pos x="93" y="68"/>
                </a:cxn>
                <a:cxn ang="0">
                  <a:pos x="96" y="88"/>
                </a:cxn>
                <a:cxn ang="0">
                  <a:pos x="107" y="108"/>
                </a:cxn>
                <a:cxn ang="0">
                  <a:pos x="111" y="130"/>
                </a:cxn>
                <a:cxn ang="0">
                  <a:pos x="112" y="146"/>
                </a:cxn>
                <a:cxn ang="0">
                  <a:pos x="115" y="162"/>
                </a:cxn>
                <a:cxn ang="0">
                  <a:pos x="120" y="183"/>
                </a:cxn>
                <a:cxn ang="0">
                  <a:pos x="104" y="178"/>
                </a:cxn>
                <a:cxn ang="0">
                  <a:pos x="109" y="165"/>
                </a:cxn>
                <a:cxn ang="0">
                  <a:pos x="97" y="155"/>
                </a:cxn>
                <a:cxn ang="0">
                  <a:pos x="88" y="145"/>
                </a:cxn>
                <a:cxn ang="0">
                  <a:pos x="77" y="153"/>
                </a:cxn>
                <a:cxn ang="0">
                  <a:pos x="49" y="139"/>
                </a:cxn>
                <a:cxn ang="0">
                  <a:pos x="37" y="133"/>
                </a:cxn>
                <a:cxn ang="0">
                  <a:pos x="27" y="148"/>
                </a:cxn>
                <a:cxn ang="0">
                  <a:pos x="7" y="147"/>
                </a:cxn>
                <a:cxn ang="0">
                  <a:pos x="10" y="115"/>
                </a:cxn>
                <a:cxn ang="0">
                  <a:pos x="2" y="101"/>
                </a:cxn>
                <a:cxn ang="0">
                  <a:pos x="3" y="82"/>
                </a:cxn>
                <a:cxn ang="0">
                  <a:pos x="9" y="70"/>
                </a:cxn>
                <a:cxn ang="0">
                  <a:pos x="9" y="54"/>
                </a:cxn>
                <a:cxn ang="0">
                  <a:pos x="11" y="44"/>
                </a:cxn>
                <a:cxn ang="0">
                  <a:pos x="1" y="31"/>
                </a:cxn>
                <a:cxn ang="0">
                  <a:pos x="6" y="17"/>
                </a:cxn>
                <a:cxn ang="0">
                  <a:pos x="16" y="26"/>
                </a:cxn>
                <a:cxn ang="0">
                  <a:pos x="27" y="40"/>
                </a:cxn>
                <a:cxn ang="0">
                  <a:pos x="39" y="28"/>
                </a:cxn>
                <a:cxn ang="0">
                  <a:pos x="53" y="16"/>
                </a:cxn>
                <a:cxn ang="0">
                  <a:pos x="64" y="3"/>
                </a:cxn>
                <a:cxn ang="0">
                  <a:pos x="78" y="13"/>
                </a:cxn>
              </a:cxnLst>
              <a:rect l="0" t="0" r="r" b="b"/>
              <a:pathLst>
                <a:path w="122" h="186">
                  <a:moveTo>
                    <a:pt x="86" y="16"/>
                  </a:moveTo>
                  <a:cubicBezTo>
                    <a:pt x="86" y="21"/>
                    <a:pt x="85" y="26"/>
                    <a:pt x="86" y="29"/>
                  </a:cubicBezTo>
                  <a:cubicBezTo>
                    <a:pt x="86" y="35"/>
                    <a:pt x="91" y="36"/>
                    <a:pt x="92" y="38"/>
                  </a:cubicBezTo>
                  <a:cubicBezTo>
                    <a:pt x="93" y="39"/>
                    <a:pt x="92" y="43"/>
                    <a:pt x="95" y="46"/>
                  </a:cubicBezTo>
                  <a:cubicBezTo>
                    <a:pt x="98" y="49"/>
                    <a:pt x="97" y="55"/>
                    <a:pt x="96" y="57"/>
                  </a:cubicBezTo>
                  <a:cubicBezTo>
                    <a:pt x="96" y="59"/>
                    <a:pt x="93" y="64"/>
                    <a:pt x="93" y="68"/>
                  </a:cubicBezTo>
                  <a:cubicBezTo>
                    <a:pt x="93" y="72"/>
                    <a:pt x="95" y="76"/>
                    <a:pt x="95" y="79"/>
                  </a:cubicBezTo>
                  <a:cubicBezTo>
                    <a:pt x="96" y="83"/>
                    <a:pt x="96" y="87"/>
                    <a:pt x="96" y="88"/>
                  </a:cubicBezTo>
                  <a:cubicBezTo>
                    <a:pt x="96" y="90"/>
                    <a:pt x="101" y="95"/>
                    <a:pt x="104" y="97"/>
                  </a:cubicBezTo>
                  <a:cubicBezTo>
                    <a:pt x="106" y="99"/>
                    <a:pt x="107" y="104"/>
                    <a:pt x="107" y="108"/>
                  </a:cubicBezTo>
                  <a:cubicBezTo>
                    <a:pt x="107" y="112"/>
                    <a:pt x="104" y="119"/>
                    <a:pt x="105" y="121"/>
                  </a:cubicBezTo>
                  <a:cubicBezTo>
                    <a:pt x="106" y="122"/>
                    <a:pt x="109" y="127"/>
                    <a:pt x="111" y="130"/>
                  </a:cubicBezTo>
                  <a:cubicBezTo>
                    <a:pt x="112" y="133"/>
                    <a:pt x="115" y="135"/>
                    <a:pt x="115" y="138"/>
                  </a:cubicBezTo>
                  <a:cubicBezTo>
                    <a:pt x="115" y="141"/>
                    <a:pt x="112" y="144"/>
                    <a:pt x="112" y="146"/>
                  </a:cubicBezTo>
                  <a:cubicBezTo>
                    <a:pt x="112" y="149"/>
                    <a:pt x="116" y="149"/>
                    <a:pt x="117" y="152"/>
                  </a:cubicBezTo>
                  <a:cubicBezTo>
                    <a:pt x="117" y="155"/>
                    <a:pt x="114" y="159"/>
                    <a:pt x="115" y="162"/>
                  </a:cubicBezTo>
                  <a:cubicBezTo>
                    <a:pt x="115" y="165"/>
                    <a:pt x="118" y="165"/>
                    <a:pt x="119" y="169"/>
                  </a:cubicBezTo>
                  <a:cubicBezTo>
                    <a:pt x="120" y="172"/>
                    <a:pt x="122" y="180"/>
                    <a:pt x="120" y="183"/>
                  </a:cubicBezTo>
                  <a:cubicBezTo>
                    <a:pt x="118" y="186"/>
                    <a:pt x="117" y="179"/>
                    <a:pt x="114" y="178"/>
                  </a:cubicBezTo>
                  <a:cubicBezTo>
                    <a:pt x="111" y="177"/>
                    <a:pt x="106" y="180"/>
                    <a:pt x="104" y="178"/>
                  </a:cubicBezTo>
                  <a:cubicBezTo>
                    <a:pt x="101" y="176"/>
                    <a:pt x="103" y="173"/>
                    <a:pt x="104" y="170"/>
                  </a:cubicBezTo>
                  <a:cubicBezTo>
                    <a:pt x="105" y="168"/>
                    <a:pt x="109" y="168"/>
                    <a:pt x="109" y="165"/>
                  </a:cubicBezTo>
                  <a:cubicBezTo>
                    <a:pt x="108" y="163"/>
                    <a:pt x="103" y="162"/>
                    <a:pt x="101" y="161"/>
                  </a:cubicBezTo>
                  <a:cubicBezTo>
                    <a:pt x="100" y="160"/>
                    <a:pt x="97" y="157"/>
                    <a:pt x="97" y="155"/>
                  </a:cubicBezTo>
                  <a:cubicBezTo>
                    <a:pt x="97" y="153"/>
                    <a:pt x="94" y="144"/>
                    <a:pt x="93" y="144"/>
                  </a:cubicBezTo>
                  <a:cubicBezTo>
                    <a:pt x="92" y="144"/>
                    <a:pt x="90" y="144"/>
                    <a:pt x="88" y="145"/>
                  </a:cubicBezTo>
                  <a:cubicBezTo>
                    <a:pt x="87" y="146"/>
                    <a:pt x="86" y="148"/>
                    <a:pt x="84" y="149"/>
                  </a:cubicBezTo>
                  <a:cubicBezTo>
                    <a:pt x="82" y="151"/>
                    <a:pt x="80" y="153"/>
                    <a:pt x="77" y="153"/>
                  </a:cubicBezTo>
                  <a:cubicBezTo>
                    <a:pt x="73" y="154"/>
                    <a:pt x="66" y="154"/>
                    <a:pt x="62" y="152"/>
                  </a:cubicBezTo>
                  <a:cubicBezTo>
                    <a:pt x="57" y="149"/>
                    <a:pt x="52" y="142"/>
                    <a:pt x="49" y="139"/>
                  </a:cubicBezTo>
                  <a:cubicBezTo>
                    <a:pt x="47" y="135"/>
                    <a:pt x="48" y="133"/>
                    <a:pt x="46" y="132"/>
                  </a:cubicBezTo>
                  <a:cubicBezTo>
                    <a:pt x="43" y="131"/>
                    <a:pt x="40" y="132"/>
                    <a:pt x="37" y="133"/>
                  </a:cubicBezTo>
                  <a:cubicBezTo>
                    <a:pt x="35" y="134"/>
                    <a:pt x="32" y="136"/>
                    <a:pt x="30" y="139"/>
                  </a:cubicBezTo>
                  <a:cubicBezTo>
                    <a:pt x="28" y="141"/>
                    <a:pt x="28" y="144"/>
                    <a:pt x="27" y="148"/>
                  </a:cubicBezTo>
                  <a:cubicBezTo>
                    <a:pt x="23" y="147"/>
                    <a:pt x="20" y="153"/>
                    <a:pt x="16" y="152"/>
                  </a:cubicBezTo>
                  <a:cubicBezTo>
                    <a:pt x="13" y="152"/>
                    <a:pt x="9" y="151"/>
                    <a:pt x="7" y="147"/>
                  </a:cubicBezTo>
                  <a:cubicBezTo>
                    <a:pt x="5" y="142"/>
                    <a:pt x="7" y="135"/>
                    <a:pt x="8" y="130"/>
                  </a:cubicBezTo>
                  <a:cubicBezTo>
                    <a:pt x="8" y="124"/>
                    <a:pt x="11" y="119"/>
                    <a:pt x="10" y="115"/>
                  </a:cubicBezTo>
                  <a:cubicBezTo>
                    <a:pt x="10" y="111"/>
                    <a:pt x="6" y="112"/>
                    <a:pt x="5" y="108"/>
                  </a:cubicBezTo>
                  <a:cubicBezTo>
                    <a:pt x="4" y="106"/>
                    <a:pt x="3" y="104"/>
                    <a:pt x="2" y="101"/>
                  </a:cubicBezTo>
                  <a:cubicBezTo>
                    <a:pt x="3" y="100"/>
                    <a:pt x="4" y="100"/>
                    <a:pt x="5" y="99"/>
                  </a:cubicBezTo>
                  <a:cubicBezTo>
                    <a:pt x="10" y="95"/>
                    <a:pt x="1" y="86"/>
                    <a:pt x="3" y="82"/>
                  </a:cubicBezTo>
                  <a:cubicBezTo>
                    <a:pt x="4" y="77"/>
                    <a:pt x="11" y="79"/>
                    <a:pt x="12" y="76"/>
                  </a:cubicBezTo>
                  <a:cubicBezTo>
                    <a:pt x="14" y="74"/>
                    <a:pt x="9" y="72"/>
                    <a:pt x="9" y="70"/>
                  </a:cubicBezTo>
                  <a:cubicBezTo>
                    <a:pt x="8" y="67"/>
                    <a:pt x="10" y="65"/>
                    <a:pt x="10" y="62"/>
                  </a:cubicBezTo>
                  <a:cubicBezTo>
                    <a:pt x="10" y="60"/>
                    <a:pt x="9" y="56"/>
                    <a:pt x="9" y="54"/>
                  </a:cubicBezTo>
                  <a:cubicBezTo>
                    <a:pt x="8" y="52"/>
                    <a:pt x="4" y="51"/>
                    <a:pt x="5" y="49"/>
                  </a:cubicBezTo>
                  <a:cubicBezTo>
                    <a:pt x="6" y="46"/>
                    <a:pt x="11" y="46"/>
                    <a:pt x="11" y="44"/>
                  </a:cubicBezTo>
                  <a:cubicBezTo>
                    <a:pt x="12" y="42"/>
                    <a:pt x="10" y="41"/>
                    <a:pt x="9" y="39"/>
                  </a:cubicBezTo>
                  <a:cubicBezTo>
                    <a:pt x="7" y="37"/>
                    <a:pt x="3" y="34"/>
                    <a:pt x="1" y="31"/>
                  </a:cubicBezTo>
                  <a:cubicBezTo>
                    <a:pt x="0" y="29"/>
                    <a:pt x="2" y="27"/>
                    <a:pt x="2" y="24"/>
                  </a:cubicBezTo>
                  <a:cubicBezTo>
                    <a:pt x="3" y="22"/>
                    <a:pt x="4" y="18"/>
                    <a:pt x="6" y="17"/>
                  </a:cubicBezTo>
                  <a:cubicBezTo>
                    <a:pt x="9" y="16"/>
                    <a:pt x="11" y="18"/>
                    <a:pt x="13" y="20"/>
                  </a:cubicBezTo>
                  <a:cubicBezTo>
                    <a:pt x="15" y="21"/>
                    <a:pt x="15" y="22"/>
                    <a:pt x="16" y="26"/>
                  </a:cubicBezTo>
                  <a:cubicBezTo>
                    <a:pt x="16" y="29"/>
                    <a:pt x="12" y="36"/>
                    <a:pt x="15" y="39"/>
                  </a:cubicBezTo>
                  <a:cubicBezTo>
                    <a:pt x="17" y="43"/>
                    <a:pt x="23" y="41"/>
                    <a:pt x="27" y="40"/>
                  </a:cubicBezTo>
                  <a:cubicBezTo>
                    <a:pt x="30" y="39"/>
                    <a:pt x="29" y="35"/>
                    <a:pt x="32" y="33"/>
                  </a:cubicBezTo>
                  <a:cubicBezTo>
                    <a:pt x="34" y="31"/>
                    <a:pt x="37" y="29"/>
                    <a:pt x="39" y="28"/>
                  </a:cubicBezTo>
                  <a:cubicBezTo>
                    <a:pt x="42" y="27"/>
                    <a:pt x="44" y="29"/>
                    <a:pt x="47" y="27"/>
                  </a:cubicBezTo>
                  <a:cubicBezTo>
                    <a:pt x="50" y="25"/>
                    <a:pt x="51" y="19"/>
                    <a:pt x="53" y="16"/>
                  </a:cubicBezTo>
                  <a:cubicBezTo>
                    <a:pt x="56" y="14"/>
                    <a:pt x="61" y="16"/>
                    <a:pt x="63" y="14"/>
                  </a:cubicBezTo>
                  <a:cubicBezTo>
                    <a:pt x="65" y="11"/>
                    <a:pt x="61" y="5"/>
                    <a:pt x="64" y="3"/>
                  </a:cubicBezTo>
                  <a:cubicBezTo>
                    <a:pt x="67" y="0"/>
                    <a:pt x="72" y="1"/>
                    <a:pt x="75" y="3"/>
                  </a:cubicBezTo>
                  <a:cubicBezTo>
                    <a:pt x="77" y="5"/>
                    <a:pt x="76" y="11"/>
                    <a:pt x="78" y="13"/>
                  </a:cubicBezTo>
                  <a:cubicBezTo>
                    <a:pt x="80" y="15"/>
                    <a:pt x="84" y="15"/>
                    <a:pt x="86" y="16"/>
                  </a:cubicBezTo>
                  <a:close/>
                </a:path>
              </a:pathLst>
            </a:custGeom>
            <a:grpFill/>
            <a:ln w="190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179388" indent="-4763">
                <a:defRPr/>
              </a:pPr>
              <a:endParaRPr lang="ru-RU" sz="1600" dirty="0">
                <a:solidFill>
                  <a:prstClr val="white"/>
                </a:solidFill>
                <a:cs typeface="Arial" charset="0"/>
              </a:endParaRPr>
            </a:p>
          </p:txBody>
        </p:sp>
        <p:sp>
          <p:nvSpPr>
            <p:cNvPr id="108" name="Freeform 10"/>
            <p:cNvSpPr>
              <a:spLocks noEditPoints="1"/>
            </p:cNvSpPr>
            <p:nvPr/>
          </p:nvSpPr>
          <p:spPr bwMode="auto">
            <a:xfrm rot="21439583">
              <a:off x="3442545" y="3294429"/>
              <a:ext cx="1168131" cy="1103469"/>
            </a:xfrm>
            <a:custGeom>
              <a:avLst/>
              <a:gdLst/>
              <a:ahLst/>
              <a:cxnLst>
                <a:cxn ang="0">
                  <a:pos x="194" y="133"/>
                </a:cxn>
                <a:cxn ang="0">
                  <a:pos x="187" y="148"/>
                </a:cxn>
                <a:cxn ang="0">
                  <a:pos x="175" y="142"/>
                </a:cxn>
                <a:cxn ang="0">
                  <a:pos x="161" y="132"/>
                </a:cxn>
                <a:cxn ang="0">
                  <a:pos x="150" y="145"/>
                </a:cxn>
                <a:cxn ang="0">
                  <a:pos x="136" y="157"/>
                </a:cxn>
                <a:cxn ang="0">
                  <a:pos x="124" y="169"/>
                </a:cxn>
                <a:cxn ang="0">
                  <a:pos x="113" y="155"/>
                </a:cxn>
                <a:cxn ang="0">
                  <a:pos x="103" y="146"/>
                </a:cxn>
                <a:cxn ang="0">
                  <a:pos x="98" y="160"/>
                </a:cxn>
                <a:cxn ang="0">
                  <a:pos x="108" y="173"/>
                </a:cxn>
                <a:cxn ang="0">
                  <a:pos x="106" y="183"/>
                </a:cxn>
                <a:cxn ang="0">
                  <a:pos x="106" y="199"/>
                </a:cxn>
                <a:cxn ang="0">
                  <a:pos x="100" y="211"/>
                </a:cxn>
                <a:cxn ang="0">
                  <a:pos x="80" y="227"/>
                </a:cxn>
                <a:cxn ang="0">
                  <a:pos x="57" y="214"/>
                </a:cxn>
                <a:cxn ang="0">
                  <a:pos x="38" y="216"/>
                </a:cxn>
                <a:cxn ang="0">
                  <a:pos x="14" y="212"/>
                </a:cxn>
                <a:cxn ang="0">
                  <a:pos x="2" y="210"/>
                </a:cxn>
                <a:cxn ang="0">
                  <a:pos x="14" y="192"/>
                </a:cxn>
                <a:cxn ang="0">
                  <a:pos x="11" y="176"/>
                </a:cxn>
                <a:cxn ang="0">
                  <a:pos x="15" y="163"/>
                </a:cxn>
                <a:cxn ang="0">
                  <a:pos x="25" y="160"/>
                </a:cxn>
                <a:cxn ang="0">
                  <a:pos x="20" y="148"/>
                </a:cxn>
                <a:cxn ang="0">
                  <a:pos x="27" y="122"/>
                </a:cxn>
                <a:cxn ang="0">
                  <a:pos x="35" y="101"/>
                </a:cxn>
                <a:cxn ang="0">
                  <a:pos x="53" y="93"/>
                </a:cxn>
                <a:cxn ang="0">
                  <a:pos x="67" y="75"/>
                </a:cxn>
                <a:cxn ang="0">
                  <a:pos x="83" y="71"/>
                </a:cxn>
                <a:cxn ang="0">
                  <a:pos x="95" y="58"/>
                </a:cxn>
                <a:cxn ang="0">
                  <a:pos x="106" y="49"/>
                </a:cxn>
                <a:cxn ang="0">
                  <a:pos x="97" y="30"/>
                </a:cxn>
                <a:cxn ang="0">
                  <a:pos x="103" y="12"/>
                </a:cxn>
                <a:cxn ang="0">
                  <a:pos x="122" y="2"/>
                </a:cxn>
                <a:cxn ang="0">
                  <a:pos x="130" y="6"/>
                </a:cxn>
                <a:cxn ang="0">
                  <a:pos x="139" y="22"/>
                </a:cxn>
                <a:cxn ang="0">
                  <a:pos x="148" y="31"/>
                </a:cxn>
                <a:cxn ang="0">
                  <a:pos x="165" y="40"/>
                </a:cxn>
                <a:cxn ang="0">
                  <a:pos x="170" y="51"/>
                </a:cxn>
                <a:cxn ang="0">
                  <a:pos x="188" y="52"/>
                </a:cxn>
                <a:cxn ang="0">
                  <a:pos x="196" y="65"/>
                </a:cxn>
                <a:cxn ang="0">
                  <a:pos x="198" y="73"/>
                </a:cxn>
                <a:cxn ang="0">
                  <a:pos x="208" y="85"/>
                </a:cxn>
                <a:cxn ang="0">
                  <a:pos x="202" y="110"/>
                </a:cxn>
                <a:cxn ang="0">
                  <a:pos x="201" y="122"/>
                </a:cxn>
                <a:cxn ang="0">
                  <a:pos x="207" y="129"/>
                </a:cxn>
                <a:cxn ang="0">
                  <a:pos x="197" y="65"/>
                </a:cxn>
                <a:cxn ang="0">
                  <a:pos x="197" y="65"/>
                </a:cxn>
                <a:cxn ang="0">
                  <a:pos x="197" y="65"/>
                </a:cxn>
              </a:cxnLst>
              <a:rect l="0" t="0" r="r" b="b"/>
              <a:pathLst>
                <a:path w="209" h="232">
                  <a:moveTo>
                    <a:pt x="207" y="129"/>
                  </a:moveTo>
                  <a:cubicBezTo>
                    <a:pt x="201" y="133"/>
                    <a:pt x="197" y="130"/>
                    <a:pt x="194" y="133"/>
                  </a:cubicBezTo>
                  <a:cubicBezTo>
                    <a:pt x="190" y="138"/>
                    <a:pt x="196" y="144"/>
                    <a:pt x="194" y="147"/>
                  </a:cubicBezTo>
                  <a:cubicBezTo>
                    <a:pt x="193" y="150"/>
                    <a:pt x="189" y="148"/>
                    <a:pt x="187" y="148"/>
                  </a:cubicBezTo>
                  <a:cubicBezTo>
                    <a:pt x="185" y="147"/>
                    <a:pt x="186" y="146"/>
                    <a:pt x="183" y="145"/>
                  </a:cubicBezTo>
                  <a:cubicBezTo>
                    <a:pt x="181" y="144"/>
                    <a:pt x="177" y="145"/>
                    <a:pt x="175" y="142"/>
                  </a:cubicBezTo>
                  <a:cubicBezTo>
                    <a:pt x="173" y="140"/>
                    <a:pt x="174" y="134"/>
                    <a:pt x="172" y="132"/>
                  </a:cubicBezTo>
                  <a:cubicBezTo>
                    <a:pt x="169" y="130"/>
                    <a:pt x="164" y="129"/>
                    <a:pt x="161" y="132"/>
                  </a:cubicBezTo>
                  <a:cubicBezTo>
                    <a:pt x="158" y="134"/>
                    <a:pt x="162" y="140"/>
                    <a:pt x="160" y="143"/>
                  </a:cubicBezTo>
                  <a:cubicBezTo>
                    <a:pt x="158" y="145"/>
                    <a:pt x="153" y="143"/>
                    <a:pt x="150" y="145"/>
                  </a:cubicBezTo>
                  <a:cubicBezTo>
                    <a:pt x="148" y="148"/>
                    <a:pt x="147" y="154"/>
                    <a:pt x="144" y="156"/>
                  </a:cubicBezTo>
                  <a:cubicBezTo>
                    <a:pt x="141" y="158"/>
                    <a:pt x="139" y="156"/>
                    <a:pt x="136" y="157"/>
                  </a:cubicBezTo>
                  <a:cubicBezTo>
                    <a:pt x="134" y="158"/>
                    <a:pt x="131" y="160"/>
                    <a:pt x="129" y="162"/>
                  </a:cubicBezTo>
                  <a:cubicBezTo>
                    <a:pt x="126" y="164"/>
                    <a:pt x="127" y="168"/>
                    <a:pt x="124" y="169"/>
                  </a:cubicBezTo>
                  <a:cubicBezTo>
                    <a:pt x="120" y="170"/>
                    <a:pt x="114" y="172"/>
                    <a:pt x="112" y="168"/>
                  </a:cubicBezTo>
                  <a:cubicBezTo>
                    <a:pt x="109" y="165"/>
                    <a:pt x="113" y="158"/>
                    <a:pt x="113" y="155"/>
                  </a:cubicBezTo>
                  <a:cubicBezTo>
                    <a:pt x="112" y="151"/>
                    <a:pt x="112" y="150"/>
                    <a:pt x="110" y="149"/>
                  </a:cubicBezTo>
                  <a:cubicBezTo>
                    <a:pt x="108" y="147"/>
                    <a:pt x="106" y="145"/>
                    <a:pt x="103" y="146"/>
                  </a:cubicBezTo>
                  <a:cubicBezTo>
                    <a:pt x="101" y="147"/>
                    <a:pt x="100" y="151"/>
                    <a:pt x="99" y="153"/>
                  </a:cubicBezTo>
                  <a:cubicBezTo>
                    <a:pt x="99" y="156"/>
                    <a:pt x="97" y="158"/>
                    <a:pt x="98" y="160"/>
                  </a:cubicBezTo>
                  <a:cubicBezTo>
                    <a:pt x="100" y="163"/>
                    <a:pt x="104" y="166"/>
                    <a:pt x="106" y="168"/>
                  </a:cubicBezTo>
                  <a:cubicBezTo>
                    <a:pt x="107" y="170"/>
                    <a:pt x="109" y="171"/>
                    <a:pt x="108" y="173"/>
                  </a:cubicBezTo>
                  <a:cubicBezTo>
                    <a:pt x="108" y="175"/>
                    <a:pt x="103" y="175"/>
                    <a:pt x="102" y="178"/>
                  </a:cubicBezTo>
                  <a:cubicBezTo>
                    <a:pt x="101" y="180"/>
                    <a:pt x="105" y="181"/>
                    <a:pt x="106" y="183"/>
                  </a:cubicBezTo>
                  <a:cubicBezTo>
                    <a:pt x="106" y="185"/>
                    <a:pt x="107" y="189"/>
                    <a:pt x="107" y="191"/>
                  </a:cubicBezTo>
                  <a:cubicBezTo>
                    <a:pt x="107" y="194"/>
                    <a:pt x="105" y="196"/>
                    <a:pt x="106" y="199"/>
                  </a:cubicBezTo>
                  <a:cubicBezTo>
                    <a:pt x="106" y="201"/>
                    <a:pt x="111" y="203"/>
                    <a:pt x="109" y="205"/>
                  </a:cubicBezTo>
                  <a:cubicBezTo>
                    <a:pt x="108" y="208"/>
                    <a:pt x="101" y="206"/>
                    <a:pt x="100" y="211"/>
                  </a:cubicBezTo>
                  <a:cubicBezTo>
                    <a:pt x="98" y="215"/>
                    <a:pt x="107" y="224"/>
                    <a:pt x="102" y="228"/>
                  </a:cubicBezTo>
                  <a:cubicBezTo>
                    <a:pt x="97" y="232"/>
                    <a:pt x="86" y="229"/>
                    <a:pt x="80" y="227"/>
                  </a:cubicBezTo>
                  <a:cubicBezTo>
                    <a:pt x="74" y="225"/>
                    <a:pt x="74" y="221"/>
                    <a:pt x="70" y="219"/>
                  </a:cubicBezTo>
                  <a:cubicBezTo>
                    <a:pt x="66" y="217"/>
                    <a:pt x="61" y="216"/>
                    <a:pt x="57" y="214"/>
                  </a:cubicBezTo>
                  <a:cubicBezTo>
                    <a:pt x="53" y="213"/>
                    <a:pt x="50" y="211"/>
                    <a:pt x="47" y="211"/>
                  </a:cubicBezTo>
                  <a:cubicBezTo>
                    <a:pt x="44" y="211"/>
                    <a:pt x="42" y="215"/>
                    <a:pt x="38" y="216"/>
                  </a:cubicBezTo>
                  <a:cubicBezTo>
                    <a:pt x="34" y="217"/>
                    <a:pt x="29" y="216"/>
                    <a:pt x="25" y="215"/>
                  </a:cubicBezTo>
                  <a:cubicBezTo>
                    <a:pt x="22" y="215"/>
                    <a:pt x="18" y="212"/>
                    <a:pt x="14" y="212"/>
                  </a:cubicBezTo>
                  <a:cubicBezTo>
                    <a:pt x="11" y="212"/>
                    <a:pt x="8" y="215"/>
                    <a:pt x="6" y="214"/>
                  </a:cubicBezTo>
                  <a:cubicBezTo>
                    <a:pt x="3" y="214"/>
                    <a:pt x="0" y="213"/>
                    <a:pt x="2" y="210"/>
                  </a:cubicBezTo>
                  <a:cubicBezTo>
                    <a:pt x="4" y="208"/>
                    <a:pt x="13" y="205"/>
                    <a:pt x="15" y="202"/>
                  </a:cubicBezTo>
                  <a:cubicBezTo>
                    <a:pt x="17" y="198"/>
                    <a:pt x="15" y="195"/>
                    <a:pt x="14" y="192"/>
                  </a:cubicBezTo>
                  <a:cubicBezTo>
                    <a:pt x="13" y="189"/>
                    <a:pt x="9" y="189"/>
                    <a:pt x="9" y="186"/>
                  </a:cubicBezTo>
                  <a:cubicBezTo>
                    <a:pt x="9" y="183"/>
                    <a:pt x="11" y="183"/>
                    <a:pt x="11" y="176"/>
                  </a:cubicBezTo>
                  <a:cubicBezTo>
                    <a:pt x="11" y="172"/>
                    <a:pt x="12" y="167"/>
                    <a:pt x="12" y="162"/>
                  </a:cubicBezTo>
                  <a:cubicBezTo>
                    <a:pt x="13" y="162"/>
                    <a:pt x="14" y="163"/>
                    <a:pt x="15" y="163"/>
                  </a:cubicBezTo>
                  <a:cubicBezTo>
                    <a:pt x="19" y="165"/>
                    <a:pt x="17" y="158"/>
                    <a:pt x="19" y="158"/>
                  </a:cubicBezTo>
                  <a:cubicBezTo>
                    <a:pt x="21" y="157"/>
                    <a:pt x="23" y="162"/>
                    <a:pt x="25" y="160"/>
                  </a:cubicBezTo>
                  <a:cubicBezTo>
                    <a:pt x="26" y="158"/>
                    <a:pt x="25" y="153"/>
                    <a:pt x="24" y="150"/>
                  </a:cubicBezTo>
                  <a:cubicBezTo>
                    <a:pt x="23" y="148"/>
                    <a:pt x="21" y="153"/>
                    <a:pt x="20" y="148"/>
                  </a:cubicBezTo>
                  <a:cubicBezTo>
                    <a:pt x="19" y="143"/>
                    <a:pt x="18" y="128"/>
                    <a:pt x="20" y="122"/>
                  </a:cubicBezTo>
                  <a:cubicBezTo>
                    <a:pt x="21" y="117"/>
                    <a:pt x="25" y="123"/>
                    <a:pt x="27" y="122"/>
                  </a:cubicBezTo>
                  <a:cubicBezTo>
                    <a:pt x="30" y="121"/>
                    <a:pt x="34" y="119"/>
                    <a:pt x="36" y="115"/>
                  </a:cubicBezTo>
                  <a:cubicBezTo>
                    <a:pt x="37" y="111"/>
                    <a:pt x="33" y="105"/>
                    <a:pt x="35" y="101"/>
                  </a:cubicBezTo>
                  <a:cubicBezTo>
                    <a:pt x="37" y="97"/>
                    <a:pt x="41" y="96"/>
                    <a:pt x="45" y="94"/>
                  </a:cubicBezTo>
                  <a:cubicBezTo>
                    <a:pt x="48" y="93"/>
                    <a:pt x="51" y="95"/>
                    <a:pt x="53" y="93"/>
                  </a:cubicBezTo>
                  <a:cubicBezTo>
                    <a:pt x="56" y="92"/>
                    <a:pt x="56" y="88"/>
                    <a:pt x="58" y="85"/>
                  </a:cubicBezTo>
                  <a:cubicBezTo>
                    <a:pt x="60" y="82"/>
                    <a:pt x="63" y="77"/>
                    <a:pt x="67" y="75"/>
                  </a:cubicBezTo>
                  <a:cubicBezTo>
                    <a:pt x="70" y="73"/>
                    <a:pt x="74" y="75"/>
                    <a:pt x="77" y="75"/>
                  </a:cubicBezTo>
                  <a:cubicBezTo>
                    <a:pt x="79" y="74"/>
                    <a:pt x="80" y="72"/>
                    <a:pt x="83" y="71"/>
                  </a:cubicBezTo>
                  <a:cubicBezTo>
                    <a:pt x="85" y="71"/>
                    <a:pt x="87" y="74"/>
                    <a:pt x="89" y="72"/>
                  </a:cubicBezTo>
                  <a:cubicBezTo>
                    <a:pt x="92" y="69"/>
                    <a:pt x="93" y="61"/>
                    <a:pt x="95" y="58"/>
                  </a:cubicBezTo>
                  <a:cubicBezTo>
                    <a:pt x="97" y="55"/>
                    <a:pt x="101" y="57"/>
                    <a:pt x="103" y="55"/>
                  </a:cubicBezTo>
                  <a:cubicBezTo>
                    <a:pt x="105" y="54"/>
                    <a:pt x="105" y="52"/>
                    <a:pt x="106" y="49"/>
                  </a:cubicBezTo>
                  <a:cubicBezTo>
                    <a:pt x="106" y="46"/>
                    <a:pt x="105" y="41"/>
                    <a:pt x="104" y="38"/>
                  </a:cubicBezTo>
                  <a:cubicBezTo>
                    <a:pt x="102" y="35"/>
                    <a:pt x="98" y="33"/>
                    <a:pt x="97" y="30"/>
                  </a:cubicBezTo>
                  <a:cubicBezTo>
                    <a:pt x="96" y="27"/>
                    <a:pt x="96" y="23"/>
                    <a:pt x="98" y="20"/>
                  </a:cubicBezTo>
                  <a:cubicBezTo>
                    <a:pt x="99" y="17"/>
                    <a:pt x="99" y="14"/>
                    <a:pt x="103" y="12"/>
                  </a:cubicBezTo>
                  <a:cubicBezTo>
                    <a:pt x="107" y="10"/>
                    <a:pt x="116" y="12"/>
                    <a:pt x="119" y="10"/>
                  </a:cubicBezTo>
                  <a:cubicBezTo>
                    <a:pt x="123" y="8"/>
                    <a:pt x="120" y="3"/>
                    <a:pt x="122" y="2"/>
                  </a:cubicBezTo>
                  <a:cubicBezTo>
                    <a:pt x="124" y="0"/>
                    <a:pt x="127" y="0"/>
                    <a:pt x="129" y="1"/>
                  </a:cubicBezTo>
                  <a:cubicBezTo>
                    <a:pt x="131" y="2"/>
                    <a:pt x="129" y="5"/>
                    <a:pt x="130" y="6"/>
                  </a:cubicBezTo>
                  <a:cubicBezTo>
                    <a:pt x="132" y="7"/>
                    <a:pt x="136" y="1"/>
                    <a:pt x="138" y="5"/>
                  </a:cubicBezTo>
                  <a:cubicBezTo>
                    <a:pt x="140" y="9"/>
                    <a:pt x="138" y="19"/>
                    <a:pt x="139" y="22"/>
                  </a:cubicBezTo>
                  <a:cubicBezTo>
                    <a:pt x="140" y="26"/>
                    <a:pt x="143" y="22"/>
                    <a:pt x="145" y="24"/>
                  </a:cubicBezTo>
                  <a:cubicBezTo>
                    <a:pt x="146" y="25"/>
                    <a:pt x="146" y="29"/>
                    <a:pt x="148" y="31"/>
                  </a:cubicBezTo>
                  <a:cubicBezTo>
                    <a:pt x="151" y="33"/>
                    <a:pt x="154" y="37"/>
                    <a:pt x="157" y="38"/>
                  </a:cubicBezTo>
                  <a:cubicBezTo>
                    <a:pt x="160" y="40"/>
                    <a:pt x="163" y="39"/>
                    <a:pt x="165" y="40"/>
                  </a:cubicBezTo>
                  <a:cubicBezTo>
                    <a:pt x="167" y="41"/>
                    <a:pt x="168" y="42"/>
                    <a:pt x="169" y="44"/>
                  </a:cubicBezTo>
                  <a:cubicBezTo>
                    <a:pt x="170" y="46"/>
                    <a:pt x="168" y="49"/>
                    <a:pt x="170" y="51"/>
                  </a:cubicBezTo>
                  <a:cubicBezTo>
                    <a:pt x="173" y="52"/>
                    <a:pt x="177" y="49"/>
                    <a:pt x="180" y="49"/>
                  </a:cubicBezTo>
                  <a:cubicBezTo>
                    <a:pt x="183" y="50"/>
                    <a:pt x="186" y="50"/>
                    <a:pt x="188" y="52"/>
                  </a:cubicBezTo>
                  <a:cubicBezTo>
                    <a:pt x="190" y="55"/>
                    <a:pt x="186" y="59"/>
                    <a:pt x="189" y="61"/>
                  </a:cubicBezTo>
                  <a:cubicBezTo>
                    <a:pt x="190" y="63"/>
                    <a:pt x="194" y="64"/>
                    <a:pt x="196" y="65"/>
                  </a:cubicBezTo>
                  <a:cubicBezTo>
                    <a:pt x="196" y="65"/>
                    <a:pt x="196" y="65"/>
                    <a:pt x="196" y="65"/>
                  </a:cubicBezTo>
                  <a:cubicBezTo>
                    <a:pt x="197" y="68"/>
                    <a:pt x="197" y="71"/>
                    <a:pt x="198" y="73"/>
                  </a:cubicBezTo>
                  <a:cubicBezTo>
                    <a:pt x="200" y="76"/>
                    <a:pt x="205" y="77"/>
                    <a:pt x="206" y="79"/>
                  </a:cubicBezTo>
                  <a:cubicBezTo>
                    <a:pt x="208" y="81"/>
                    <a:pt x="209" y="83"/>
                    <a:pt x="208" y="85"/>
                  </a:cubicBezTo>
                  <a:cubicBezTo>
                    <a:pt x="207" y="88"/>
                    <a:pt x="202" y="88"/>
                    <a:pt x="201" y="92"/>
                  </a:cubicBezTo>
                  <a:cubicBezTo>
                    <a:pt x="200" y="97"/>
                    <a:pt x="202" y="107"/>
                    <a:pt x="202" y="110"/>
                  </a:cubicBezTo>
                  <a:cubicBezTo>
                    <a:pt x="202" y="113"/>
                    <a:pt x="204" y="112"/>
                    <a:pt x="204" y="113"/>
                  </a:cubicBezTo>
                  <a:cubicBezTo>
                    <a:pt x="204" y="114"/>
                    <a:pt x="201" y="121"/>
                    <a:pt x="201" y="122"/>
                  </a:cubicBezTo>
                  <a:cubicBezTo>
                    <a:pt x="201" y="123"/>
                    <a:pt x="199" y="127"/>
                    <a:pt x="201" y="128"/>
                  </a:cubicBezTo>
                  <a:cubicBezTo>
                    <a:pt x="202" y="130"/>
                    <a:pt x="205" y="129"/>
                    <a:pt x="207" y="129"/>
                  </a:cubicBezTo>
                  <a:close/>
                  <a:moveTo>
                    <a:pt x="196" y="65"/>
                  </a:moveTo>
                  <a:cubicBezTo>
                    <a:pt x="197" y="65"/>
                    <a:pt x="197" y="65"/>
                    <a:pt x="197" y="65"/>
                  </a:cubicBezTo>
                  <a:cubicBezTo>
                    <a:pt x="197" y="65"/>
                    <a:pt x="197" y="65"/>
                    <a:pt x="196" y="65"/>
                  </a:cubicBezTo>
                  <a:close/>
                  <a:moveTo>
                    <a:pt x="197" y="65"/>
                  </a:moveTo>
                  <a:cubicBezTo>
                    <a:pt x="197" y="65"/>
                    <a:pt x="198" y="65"/>
                    <a:pt x="198" y="65"/>
                  </a:cubicBezTo>
                  <a:cubicBezTo>
                    <a:pt x="198" y="65"/>
                    <a:pt x="197" y="65"/>
                    <a:pt x="197" y="65"/>
                  </a:cubicBez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09" name="Freeform 23"/>
            <p:cNvSpPr>
              <a:spLocks noEditPoints="1"/>
            </p:cNvSpPr>
            <p:nvPr/>
          </p:nvSpPr>
          <p:spPr bwMode="auto">
            <a:xfrm rot="21439583">
              <a:off x="3245095" y="4307373"/>
              <a:ext cx="1026113" cy="822492"/>
            </a:xfrm>
            <a:custGeom>
              <a:avLst/>
              <a:gdLst/>
              <a:ahLst/>
              <a:cxnLst>
                <a:cxn ang="0">
                  <a:pos x="151" y="33"/>
                </a:cxn>
                <a:cxn ang="0">
                  <a:pos x="157" y="70"/>
                </a:cxn>
                <a:cxn ang="0">
                  <a:pos x="182" y="86"/>
                </a:cxn>
                <a:cxn ang="0">
                  <a:pos x="182" y="120"/>
                </a:cxn>
                <a:cxn ang="0">
                  <a:pos x="152" y="142"/>
                </a:cxn>
                <a:cxn ang="0">
                  <a:pos x="144" y="144"/>
                </a:cxn>
                <a:cxn ang="0">
                  <a:pos x="132" y="171"/>
                </a:cxn>
                <a:cxn ang="0">
                  <a:pos x="111" y="150"/>
                </a:cxn>
                <a:cxn ang="0">
                  <a:pos x="82" y="160"/>
                </a:cxn>
                <a:cxn ang="0">
                  <a:pos x="61" y="164"/>
                </a:cxn>
                <a:cxn ang="0">
                  <a:pos x="4" y="157"/>
                </a:cxn>
                <a:cxn ang="0">
                  <a:pos x="16" y="132"/>
                </a:cxn>
                <a:cxn ang="0">
                  <a:pos x="19" y="102"/>
                </a:cxn>
                <a:cxn ang="0">
                  <a:pos x="47" y="93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9" y="55"/>
                </a:cxn>
                <a:cxn ang="0">
                  <a:pos x="34" y="46"/>
                </a:cxn>
                <a:cxn ang="0">
                  <a:pos x="22" y="17"/>
                </a:cxn>
                <a:cxn ang="0">
                  <a:pos x="46" y="2"/>
                </a:cxn>
                <a:cxn ang="0">
                  <a:pos x="58" y="1"/>
                </a:cxn>
                <a:cxn ang="0">
                  <a:pos x="91" y="0"/>
                </a:cxn>
                <a:cxn ang="0">
                  <a:pos x="124" y="16"/>
                </a:cxn>
                <a:cxn ang="0">
                  <a:pos x="1" y="112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0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1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  <a:cxn ang="0">
                  <a:pos x="46" y="2"/>
                </a:cxn>
              </a:cxnLst>
              <a:rect l="0" t="0" r="r" b="b"/>
              <a:pathLst>
                <a:path w="184" h="173">
                  <a:moveTo>
                    <a:pt x="143" y="19"/>
                  </a:moveTo>
                  <a:cubicBezTo>
                    <a:pt x="144" y="22"/>
                    <a:pt x="145" y="24"/>
                    <a:pt x="146" y="26"/>
                  </a:cubicBezTo>
                  <a:cubicBezTo>
                    <a:pt x="147" y="30"/>
                    <a:pt x="151" y="29"/>
                    <a:pt x="151" y="33"/>
                  </a:cubicBezTo>
                  <a:cubicBezTo>
                    <a:pt x="152" y="37"/>
                    <a:pt x="149" y="42"/>
                    <a:pt x="149" y="48"/>
                  </a:cubicBezTo>
                  <a:cubicBezTo>
                    <a:pt x="148" y="53"/>
                    <a:pt x="146" y="60"/>
                    <a:pt x="148" y="65"/>
                  </a:cubicBezTo>
                  <a:cubicBezTo>
                    <a:pt x="150" y="69"/>
                    <a:pt x="154" y="70"/>
                    <a:pt x="157" y="70"/>
                  </a:cubicBezTo>
                  <a:cubicBezTo>
                    <a:pt x="161" y="71"/>
                    <a:pt x="164" y="65"/>
                    <a:pt x="168" y="66"/>
                  </a:cubicBezTo>
                  <a:cubicBezTo>
                    <a:pt x="171" y="66"/>
                    <a:pt x="172" y="70"/>
                    <a:pt x="174" y="74"/>
                  </a:cubicBezTo>
                  <a:cubicBezTo>
                    <a:pt x="177" y="77"/>
                    <a:pt x="181" y="81"/>
                    <a:pt x="182" y="86"/>
                  </a:cubicBezTo>
                  <a:cubicBezTo>
                    <a:pt x="182" y="91"/>
                    <a:pt x="178" y="98"/>
                    <a:pt x="178" y="101"/>
                  </a:cubicBezTo>
                  <a:cubicBezTo>
                    <a:pt x="178" y="105"/>
                    <a:pt x="181" y="103"/>
                    <a:pt x="182" y="106"/>
                  </a:cubicBezTo>
                  <a:cubicBezTo>
                    <a:pt x="182" y="109"/>
                    <a:pt x="182" y="117"/>
                    <a:pt x="182" y="120"/>
                  </a:cubicBezTo>
                  <a:cubicBezTo>
                    <a:pt x="182" y="122"/>
                    <a:pt x="184" y="132"/>
                    <a:pt x="182" y="133"/>
                  </a:cubicBezTo>
                  <a:cubicBezTo>
                    <a:pt x="180" y="133"/>
                    <a:pt x="166" y="141"/>
                    <a:pt x="164" y="141"/>
                  </a:cubicBezTo>
                  <a:cubicBezTo>
                    <a:pt x="162" y="141"/>
                    <a:pt x="155" y="143"/>
                    <a:pt x="152" y="142"/>
                  </a:cubicBezTo>
                  <a:cubicBezTo>
                    <a:pt x="149" y="140"/>
                    <a:pt x="150" y="135"/>
                    <a:pt x="148" y="133"/>
                  </a:cubicBezTo>
                  <a:cubicBezTo>
                    <a:pt x="146" y="132"/>
                    <a:pt x="143" y="131"/>
                    <a:pt x="142" y="133"/>
                  </a:cubicBezTo>
                  <a:cubicBezTo>
                    <a:pt x="141" y="136"/>
                    <a:pt x="144" y="140"/>
                    <a:pt x="144" y="144"/>
                  </a:cubicBezTo>
                  <a:cubicBezTo>
                    <a:pt x="144" y="149"/>
                    <a:pt x="145" y="154"/>
                    <a:pt x="144" y="158"/>
                  </a:cubicBezTo>
                  <a:cubicBezTo>
                    <a:pt x="143" y="163"/>
                    <a:pt x="141" y="166"/>
                    <a:pt x="139" y="169"/>
                  </a:cubicBezTo>
                  <a:cubicBezTo>
                    <a:pt x="136" y="171"/>
                    <a:pt x="135" y="173"/>
                    <a:pt x="132" y="171"/>
                  </a:cubicBezTo>
                  <a:cubicBezTo>
                    <a:pt x="130" y="170"/>
                    <a:pt x="130" y="164"/>
                    <a:pt x="127" y="162"/>
                  </a:cubicBezTo>
                  <a:cubicBezTo>
                    <a:pt x="124" y="160"/>
                    <a:pt x="120" y="164"/>
                    <a:pt x="117" y="162"/>
                  </a:cubicBezTo>
                  <a:cubicBezTo>
                    <a:pt x="114" y="160"/>
                    <a:pt x="114" y="152"/>
                    <a:pt x="111" y="150"/>
                  </a:cubicBezTo>
                  <a:cubicBezTo>
                    <a:pt x="108" y="149"/>
                    <a:pt x="108" y="155"/>
                    <a:pt x="104" y="155"/>
                  </a:cubicBezTo>
                  <a:cubicBezTo>
                    <a:pt x="100" y="155"/>
                    <a:pt x="92" y="154"/>
                    <a:pt x="87" y="152"/>
                  </a:cubicBezTo>
                  <a:cubicBezTo>
                    <a:pt x="86" y="152"/>
                    <a:pt x="85" y="158"/>
                    <a:pt x="82" y="160"/>
                  </a:cubicBezTo>
                  <a:cubicBezTo>
                    <a:pt x="80" y="161"/>
                    <a:pt x="75" y="159"/>
                    <a:pt x="73" y="162"/>
                  </a:cubicBezTo>
                  <a:cubicBezTo>
                    <a:pt x="70" y="165"/>
                    <a:pt x="72" y="169"/>
                    <a:pt x="69" y="171"/>
                  </a:cubicBezTo>
                  <a:cubicBezTo>
                    <a:pt x="66" y="173"/>
                    <a:pt x="62" y="166"/>
                    <a:pt x="61" y="164"/>
                  </a:cubicBezTo>
                  <a:cubicBezTo>
                    <a:pt x="59" y="159"/>
                    <a:pt x="50" y="168"/>
                    <a:pt x="49" y="164"/>
                  </a:cubicBezTo>
                  <a:cubicBezTo>
                    <a:pt x="48" y="159"/>
                    <a:pt x="45" y="161"/>
                    <a:pt x="45" y="158"/>
                  </a:cubicBezTo>
                  <a:cubicBezTo>
                    <a:pt x="44" y="155"/>
                    <a:pt x="4" y="160"/>
                    <a:pt x="4" y="157"/>
                  </a:cubicBezTo>
                  <a:cubicBezTo>
                    <a:pt x="5" y="156"/>
                    <a:pt x="6" y="155"/>
                    <a:pt x="7" y="154"/>
                  </a:cubicBezTo>
                  <a:cubicBezTo>
                    <a:pt x="9" y="150"/>
                    <a:pt x="7" y="144"/>
                    <a:pt x="9" y="140"/>
                  </a:cubicBezTo>
                  <a:cubicBezTo>
                    <a:pt x="10" y="136"/>
                    <a:pt x="15" y="136"/>
                    <a:pt x="16" y="132"/>
                  </a:cubicBezTo>
                  <a:cubicBezTo>
                    <a:pt x="17" y="129"/>
                    <a:pt x="14" y="125"/>
                    <a:pt x="14" y="121"/>
                  </a:cubicBezTo>
                  <a:cubicBezTo>
                    <a:pt x="15" y="117"/>
                    <a:pt x="20" y="115"/>
                    <a:pt x="19" y="110"/>
                  </a:cubicBezTo>
                  <a:cubicBezTo>
                    <a:pt x="21" y="108"/>
                    <a:pt x="18" y="104"/>
                    <a:pt x="19" y="102"/>
                  </a:cubicBezTo>
                  <a:cubicBezTo>
                    <a:pt x="21" y="99"/>
                    <a:pt x="22" y="97"/>
                    <a:pt x="26" y="96"/>
                  </a:cubicBezTo>
                  <a:cubicBezTo>
                    <a:pt x="29" y="96"/>
                    <a:pt x="36" y="98"/>
                    <a:pt x="40" y="97"/>
                  </a:cubicBezTo>
                  <a:cubicBezTo>
                    <a:pt x="43" y="97"/>
                    <a:pt x="44" y="94"/>
                    <a:pt x="47" y="93"/>
                  </a:cubicBezTo>
                  <a:lnTo>
                    <a:pt x="47" y="77"/>
                  </a:lnTo>
                  <a:cubicBezTo>
                    <a:pt x="48" y="76"/>
                    <a:pt x="48" y="75"/>
                    <a:pt x="48" y="75"/>
                  </a:cubicBez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2"/>
                  </a:lnTo>
                  <a:cubicBezTo>
                    <a:pt x="48" y="50"/>
                    <a:pt x="47" y="48"/>
                    <a:pt x="45" y="46"/>
                  </a:cubicBezTo>
                  <a:cubicBezTo>
                    <a:pt x="42" y="46"/>
                    <a:pt x="37" y="48"/>
                    <a:pt x="34" y="46"/>
                  </a:cubicBezTo>
                  <a:cubicBezTo>
                    <a:pt x="31" y="45"/>
                    <a:pt x="31" y="40"/>
                    <a:pt x="29" y="37"/>
                  </a:cubicBezTo>
                  <a:cubicBezTo>
                    <a:pt x="26" y="33"/>
                    <a:pt x="21" y="30"/>
                    <a:pt x="19" y="26"/>
                  </a:cubicBezTo>
                  <a:cubicBezTo>
                    <a:pt x="18" y="22"/>
                    <a:pt x="20" y="19"/>
                    <a:pt x="22" y="17"/>
                  </a:cubicBezTo>
                  <a:cubicBezTo>
                    <a:pt x="25" y="15"/>
                    <a:pt x="29" y="18"/>
                    <a:pt x="31" y="16"/>
                  </a:cubicBezTo>
                  <a:cubicBezTo>
                    <a:pt x="34" y="15"/>
                    <a:pt x="33" y="10"/>
                    <a:pt x="36" y="7"/>
                  </a:cubicBezTo>
                  <a:cubicBezTo>
                    <a:pt x="38" y="5"/>
                    <a:pt x="43" y="4"/>
                    <a:pt x="46" y="2"/>
                  </a:cubicBezTo>
                  <a:lnTo>
                    <a:pt x="46" y="2"/>
                  </a:lnTo>
                  <a:cubicBezTo>
                    <a:pt x="47" y="3"/>
                    <a:pt x="48" y="3"/>
                    <a:pt x="50" y="3"/>
                  </a:cubicBezTo>
                  <a:cubicBezTo>
                    <a:pt x="52" y="4"/>
                    <a:pt x="55" y="1"/>
                    <a:pt x="58" y="1"/>
                  </a:cubicBezTo>
                  <a:cubicBezTo>
                    <a:pt x="62" y="1"/>
                    <a:pt x="66" y="4"/>
                    <a:pt x="69" y="4"/>
                  </a:cubicBezTo>
                  <a:cubicBezTo>
                    <a:pt x="73" y="5"/>
                    <a:pt x="78" y="6"/>
                    <a:pt x="82" y="5"/>
                  </a:cubicBezTo>
                  <a:cubicBezTo>
                    <a:pt x="86" y="4"/>
                    <a:pt x="88" y="0"/>
                    <a:pt x="91" y="0"/>
                  </a:cubicBezTo>
                  <a:cubicBezTo>
                    <a:pt x="94" y="0"/>
                    <a:pt x="97" y="2"/>
                    <a:pt x="101" y="3"/>
                  </a:cubicBezTo>
                  <a:cubicBezTo>
                    <a:pt x="105" y="5"/>
                    <a:pt x="110" y="6"/>
                    <a:pt x="114" y="8"/>
                  </a:cubicBezTo>
                  <a:cubicBezTo>
                    <a:pt x="118" y="10"/>
                    <a:pt x="118" y="14"/>
                    <a:pt x="124" y="16"/>
                  </a:cubicBezTo>
                  <a:cubicBezTo>
                    <a:pt x="129" y="17"/>
                    <a:pt x="138" y="20"/>
                    <a:pt x="143" y="19"/>
                  </a:cubicBezTo>
                  <a:close/>
                  <a:moveTo>
                    <a:pt x="1" y="112"/>
                  </a:moveTo>
                  <a:cubicBezTo>
                    <a:pt x="0" y="111"/>
                    <a:pt x="0" y="111"/>
                    <a:pt x="1" y="112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lnTo>
                    <a:pt x="46" y="0"/>
                  </a:lnTo>
                  <a:close/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0"/>
                  </a:moveTo>
                  <a:cubicBezTo>
                    <a:pt x="46" y="0"/>
                    <a:pt x="46" y="0"/>
                    <a:pt x="46" y="0"/>
                  </a:cubicBezTo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cubicBezTo>
                    <a:pt x="46" y="1"/>
                    <a:pt x="46" y="1"/>
                    <a:pt x="46" y="1"/>
                  </a:cubicBezTo>
                  <a:cubicBezTo>
                    <a:pt x="46" y="1"/>
                    <a:pt x="46" y="1"/>
                    <a:pt x="46" y="1"/>
                  </a:cubicBez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1"/>
                  </a:lnTo>
                  <a:close/>
                  <a:moveTo>
                    <a:pt x="46" y="1"/>
                  </a:moveTo>
                  <a:lnTo>
                    <a:pt x="46" y="2"/>
                  </a:lnTo>
                  <a:lnTo>
                    <a:pt x="46" y="1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  <a:moveTo>
                    <a:pt x="46" y="2"/>
                  </a:moveTo>
                  <a:lnTo>
                    <a:pt x="46" y="2"/>
                  </a:lnTo>
                  <a:close/>
                </a:path>
              </a:pathLst>
            </a:custGeom>
            <a:grpFill/>
            <a:ln w="1905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marL="179388" indent="-4763">
                <a:defRPr/>
              </a:pPr>
              <a:endParaRPr lang="ru-RU" sz="1400" dirty="0">
                <a:solidFill>
                  <a:prstClr val="black"/>
                </a:solidFill>
                <a:cs typeface="Arial" charset="0"/>
              </a:endParaRPr>
            </a:p>
          </p:txBody>
        </p:sp>
      </p:grpSp>
      <p:sp>
        <p:nvSpPr>
          <p:cNvPr id="110" name="Параллелограмм 109"/>
          <p:cNvSpPr/>
          <p:nvPr/>
        </p:nvSpPr>
        <p:spPr>
          <a:xfrm>
            <a:off x="1331640" y="0"/>
            <a:ext cx="3924300" cy="288925"/>
          </a:xfrm>
          <a:prstGeom prst="parallelogram">
            <a:avLst/>
          </a:prstGeom>
          <a:solidFill>
            <a:srgbClr val="3C83D8">
              <a:alpha val="68235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111" name="Параллелограмм 110"/>
          <p:cNvSpPr/>
          <p:nvPr/>
        </p:nvSpPr>
        <p:spPr>
          <a:xfrm>
            <a:off x="5148064" y="0"/>
            <a:ext cx="3995936" cy="288925"/>
          </a:xfrm>
          <a:prstGeom prst="parallelogram">
            <a:avLst/>
          </a:prstGeom>
          <a:solidFill>
            <a:schemeClr val="accent1">
              <a:lumMod val="50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63" name="TextBox 13"/>
          <p:cNvSpPr txBox="1">
            <a:spLocks noChangeArrowheads="1"/>
          </p:cNvSpPr>
          <p:nvPr/>
        </p:nvSpPr>
        <p:spPr bwMode="auto">
          <a:xfrm>
            <a:off x="28204" y="2127123"/>
            <a:ext cx="2843808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defRPr/>
            </a:pPr>
            <a:endParaRPr lang="ru-RU" altLang="ru-RU" sz="1250" kern="0" dirty="0">
              <a:solidFill>
                <a:sysClr val="windowText" lastClr="000000"/>
              </a:solidFill>
            </a:endParaRPr>
          </a:p>
        </p:txBody>
      </p:sp>
      <p:sp>
        <p:nvSpPr>
          <p:cNvPr id="58" name="TextBox 13"/>
          <p:cNvSpPr txBox="1">
            <a:spLocks noChangeArrowheads="1"/>
          </p:cNvSpPr>
          <p:nvPr/>
        </p:nvSpPr>
        <p:spPr bwMode="auto">
          <a:xfrm>
            <a:off x="827584" y="1988840"/>
            <a:ext cx="7560840" cy="2304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>
              <a:defRPr/>
            </a:pPr>
            <a:r>
              <a:rPr lang="ru-RU" altLang="ru-RU" sz="5500" b="1" kern="0" dirty="0" smtClean="0">
                <a:solidFill>
                  <a:schemeClr val="accent5">
                    <a:lumMod val="75000"/>
                  </a:schemeClr>
                </a:solidFill>
              </a:rPr>
              <a:t>СПАСИБО ЗА ВНИМАНИЕ!</a:t>
            </a:r>
            <a:endParaRPr lang="ru-RU" altLang="ru-RU" sz="5500" b="1" kern="0" dirty="0">
              <a:solidFill>
                <a:schemeClr val="accent5">
                  <a:lumMod val="75000"/>
                </a:schemeClr>
              </a:solidFill>
            </a:endParaRP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179512" y="332656"/>
            <a:ext cx="8785225" cy="0"/>
          </a:xfrm>
          <a:prstGeom prst="line">
            <a:avLst/>
          </a:prstGeom>
          <a:ln w="15875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89051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2.xml><?xml version="1.0" encoding="utf-8"?>
<a:theme xmlns:a="http://schemas.openxmlformats.org/drawingml/2006/main" name="13_Тема Office">
  <a:themeElements>
    <a:clrScheme name="тор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w="15875">
          <a:prstDash val="sys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4.xml><?xml version="1.0" encoding="utf-8"?>
<a:theme xmlns:a="http://schemas.openxmlformats.org/drawingml/2006/main" name="2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5.xml><?xml version="1.0" encoding="utf-8"?>
<a:theme xmlns:a="http://schemas.openxmlformats.org/drawingml/2006/main" name="3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6.xml><?xml version="1.0" encoding="utf-8"?>
<a:theme xmlns:a="http://schemas.openxmlformats.org/drawingml/2006/main" name="4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7.xml><?xml version="1.0" encoding="utf-8"?>
<a:theme xmlns:a="http://schemas.openxmlformats.org/drawingml/2006/main" name="5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8.xml><?xml version="1.0" encoding="utf-8"?>
<a:theme xmlns:a="http://schemas.openxmlformats.org/drawingml/2006/main" name="6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04775">
          <a:solidFill>
            <a:srgbClr val="006666">
              <a:alpha val="60000"/>
            </a:srgb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наш" id="{54EE93DA-34E4-4C2C-9CE5-CB11A837141D}" vid="{37939111-AC54-4381-9650-F0318AE2591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659</TotalTime>
  <Words>875</Words>
  <Application>Microsoft Office PowerPoint</Application>
  <PresentationFormat>Экран (4:3)</PresentationFormat>
  <Paragraphs>93</Paragraphs>
  <Slides>7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3" baseType="lpstr">
      <vt:lpstr>Arial</vt:lpstr>
      <vt:lpstr>Arial Black</vt:lpstr>
      <vt:lpstr>Calibri</vt:lpstr>
      <vt:lpstr>Calibri Light</vt:lpstr>
      <vt:lpstr>Cambria</vt:lpstr>
      <vt:lpstr>Times New Roman</vt:lpstr>
      <vt:lpstr>Wingdings</vt:lpstr>
      <vt:lpstr>Тема1</vt:lpstr>
      <vt:lpstr>13_Тема Office</vt:lpstr>
      <vt:lpstr>1_Тема1</vt:lpstr>
      <vt:lpstr>2_Тема1</vt:lpstr>
      <vt:lpstr>3_Тема1</vt:lpstr>
      <vt:lpstr>4_Тема1</vt:lpstr>
      <vt:lpstr>5_Тема1</vt:lpstr>
      <vt:lpstr>6_Тема1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Administration of Irkutsk regio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.bak</dc:creator>
  <cp:lastModifiedBy>Елизавета Юрьевна Евстафьева</cp:lastModifiedBy>
  <cp:revision>682</cp:revision>
  <cp:lastPrinted>2017-11-13T08:51:07Z</cp:lastPrinted>
  <dcterms:created xsi:type="dcterms:W3CDTF">2015-04-14T01:39:29Z</dcterms:created>
  <dcterms:modified xsi:type="dcterms:W3CDTF">2017-12-25T01:04:57Z</dcterms:modified>
</cp:coreProperties>
</file>